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</p:sldMasterIdLst>
  <p:notesMasterIdLst>
    <p:notesMasterId r:id="rId63"/>
  </p:notesMasterIdLst>
  <p:sldIdLst>
    <p:sldId id="319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6" r:id="rId52"/>
    <p:sldId id="307" r:id="rId53"/>
    <p:sldId id="315" r:id="rId54"/>
    <p:sldId id="316" r:id="rId55"/>
    <p:sldId id="314" r:id="rId56"/>
    <p:sldId id="309" r:id="rId57"/>
    <p:sldId id="310" r:id="rId58"/>
    <p:sldId id="311" r:id="rId59"/>
    <p:sldId id="318" r:id="rId60"/>
    <p:sldId id="312" r:id="rId61"/>
    <p:sldId id="313" r:id="rId62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4" autoAdjust="0"/>
    <p:restoredTop sz="94607"/>
  </p:normalViewPr>
  <p:slideViewPr>
    <p:cSldViewPr>
      <p:cViewPr varScale="1">
        <p:scale>
          <a:sx n="106" d="100"/>
          <a:sy n="106" d="100"/>
        </p:scale>
        <p:origin x="216" y="560"/>
      </p:cViewPr>
      <p:guideLst>
        <p:guide orient="horz" pos="288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75C5E4-D9A0-CC47-822A-8081806FE6D6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B27726-840F-5148-BB31-77BD9F4B8A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419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times we haven’t yet labeled, sometimes</a:t>
            </a:r>
            <a:r>
              <a:rPr lang="en-US" baseline="0" dirty="0"/>
              <a:t> there are no labels, sometimes the correct label depends on your contex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341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</a:t>
            </a:r>
            <a:r>
              <a:rPr lang="en-US" dirty="0" err="1"/>
              <a:t>scikit-learn.org</a:t>
            </a:r>
            <a:r>
              <a:rPr lang="en-US" dirty="0"/>
              <a:t>/stable/modules/generated/</a:t>
            </a:r>
            <a:r>
              <a:rPr lang="en-US" dirty="0" err="1"/>
              <a:t>sklearn.metrics.silhouette_score.htm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124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as humans</a:t>
            </a:r>
            <a:r>
              <a:rPr lang="en-US" baseline="0" dirty="0"/>
              <a:t> can group points, then figure out the best label. Then, we have a training set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595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o this heuristically as humans for plants and animals, until</a:t>
            </a:r>
            <a:r>
              <a:rPr lang="en-US" baseline="0" dirty="0"/>
              <a:t> we can sequence DN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469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hat metrics for performance?</a:t>
            </a:r>
            <a:endParaRPr lang="en-US" dirty="0"/>
          </a:p>
          <a:p>
            <a:r>
              <a:rPr lang="en-US" dirty="0"/>
              <a:t>Can you calculate</a:t>
            </a:r>
            <a:r>
              <a:rPr lang="en-US" baseline="0" dirty="0"/>
              <a:t> accuracy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77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lled “centroid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205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</a:t>
            </a:r>
            <a:r>
              <a:rPr lang="en-US" dirty="0" err="1"/>
              <a:t>random_seed</a:t>
            </a:r>
            <a:r>
              <a:rPr lang="en-US" dirty="0"/>
              <a:t> and/or run multiple cold</a:t>
            </a:r>
            <a:r>
              <a:rPr lang="en-US" baseline="0" dirty="0"/>
              <a:t> star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8811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this be hacke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299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 for jeans: have a limited number of variations from fac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9985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B27726-840F-5148-BB31-77BD9F4B8A63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06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257" y="685800"/>
            <a:ext cx="10058400" cy="3657600"/>
          </a:xfrm>
          <a:prstGeom prst="rect">
            <a:avLst/>
          </a:prstGeo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AB164B-0894-B142-A83D-CC15DEBBD68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11293832" y="5627914"/>
            <a:ext cx="571457" cy="90913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CAA1506-7899-5843-A44E-BB8E80613307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67396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005" y="4876787"/>
            <a:ext cx="9570195" cy="56673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180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93005" y="762000"/>
            <a:ext cx="9570195" cy="3640666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006" y="5443525"/>
            <a:ext cx="9570193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346D643-3D40-A544-BA11-C5702B803186}"/>
              </a:ext>
            </a:extLst>
          </p:cNvPr>
          <p:cNvCxnSpPr>
            <a:cxnSpLocks/>
          </p:cNvCxnSpPr>
          <p:nvPr/>
        </p:nvCxnSpPr>
        <p:spPr>
          <a:xfrm>
            <a:off x="793005" y="4816208"/>
            <a:ext cx="9570195" cy="0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62989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97" y="892629"/>
            <a:ext cx="7720019" cy="3286125"/>
          </a:xfrm>
          <a:prstGeom prst="rect">
            <a:avLst/>
          </a:prstGeom>
        </p:spPr>
        <p:txBody>
          <a:bodyPr/>
          <a:lstStyle>
            <a:lvl1pPr>
              <a:defRPr sz="3600" spc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1289273" y="4401913"/>
            <a:ext cx="7279649" cy="498747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35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marL="0" lvl="0" indent="0">
              <a:buNone/>
            </a:pPr>
            <a:r>
              <a:rPr lang="en-US" dirty="0"/>
              <a:t>- QUOTE AUTH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1160" y="416083"/>
            <a:ext cx="801912" cy="150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9150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76705" y="3431632"/>
            <a:ext cx="801912" cy="150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sz="9150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510371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640" y="1234441"/>
            <a:ext cx="7720019" cy="828041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302B9C-2E99-DD43-B6BC-73FCC0BAA5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4640" y="2393632"/>
            <a:ext cx="7720019" cy="236124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177E7E-7C5D-534C-BCB5-67E15CA69734}"/>
              </a:ext>
            </a:extLst>
          </p:cNvPr>
          <p:cNvSpPr/>
          <p:nvPr/>
        </p:nvSpPr>
        <p:spPr>
          <a:xfrm>
            <a:off x="694641" y="4968240"/>
            <a:ext cx="4672017" cy="65024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900" dirty="0"/>
              <a:t>CALL OUT or CALL TO ACTION can go here</a:t>
            </a:r>
          </a:p>
        </p:txBody>
      </p:sp>
    </p:spTree>
    <p:extLst>
      <p:ext uri="{BB962C8B-B14F-4D97-AF65-F5344CB8AC3E}">
        <p14:creationId xmlns:p14="http://schemas.microsoft.com/office/powerpoint/2010/main" val="2020187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987" y="2962275"/>
            <a:ext cx="2946867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5503" y="3648075"/>
            <a:ext cx="2927351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76701" y="2962275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66145" y="3648075"/>
            <a:ext cx="2946795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17741" y="2962275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17741" y="3648075"/>
            <a:ext cx="2932113" cy="2381250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3719183" y="3114675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6955267" y="3114675"/>
            <a:ext cx="0" cy="291465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851FE1CA-4C16-AD45-BD54-500EEF78C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9525150-06D1-F64E-A049-783F7E29F5F6}"/>
              </a:ext>
            </a:extLst>
          </p:cNvPr>
          <p:cNvSpPr/>
          <p:nvPr/>
        </p:nvSpPr>
        <p:spPr>
          <a:xfrm>
            <a:off x="721238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E72322-60BD-2643-8938-E19617DB5104}"/>
              </a:ext>
            </a:extLst>
          </p:cNvPr>
          <p:cNvSpPr/>
          <p:nvPr/>
        </p:nvSpPr>
        <p:spPr>
          <a:xfrm>
            <a:off x="3971950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C76404-DA09-8443-9D3C-1696077594EF}"/>
              </a:ext>
            </a:extLst>
          </p:cNvPr>
          <p:cNvSpPr/>
          <p:nvPr/>
        </p:nvSpPr>
        <p:spPr>
          <a:xfrm>
            <a:off x="7212992" y="1633539"/>
            <a:ext cx="1266825" cy="12668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/>
          </a:p>
        </p:txBody>
      </p:sp>
    </p:spTree>
    <p:extLst>
      <p:ext uri="{BB962C8B-B14F-4D97-AF65-F5344CB8AC3E}">
        <p14:creationId xmlns:p14="http://schemas.microsoft.com/office/powerpoint/2010/main" val="8670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3641349"/>
            <a:ext cx="2940051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1819275"/>
            <a:ext cx="2940051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217613"/>
            <a:ext cx="2940051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6" y="36413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5" y="1819275"/>
            <a:ext cx="2930525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217612"/>
            <a:ext cx="2934407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1" y="36413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701" y="1819275"/>
            <a:ext cx="2932113" cy="1524000"/>
          </a:xfrm>
          <a:prstGeom prst="roundRect">
            <a:avLst>
              <a:gd name="adj" fmla="val 1858"/>
            </a:avLst>
          </a:prstGeom>
          <a:solidFill>
            <a:schemeClr val="tx1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6" y="4217610"/>
            <a:ext cx="2935997" cy="1487865"/>
          </a:xfrm>
        </p:spPr>
        <p:txBody>
          <a:bodyPr anchor="t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3" y="1743075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1743075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F638FCE4-00A7-BB4E-98EC-AB681132F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035413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587004"/>
            <a:ext cx="8825659" cy="1683992"/>
          </a:xfrm>
          <a:prstGeom prst="rect">
            <a:avLst/>
          </a:prstGeom>
        </p:spPr>
        <p:txBody>
          <a:bodyPr anchor="t" anchorCtr="0"/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568659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502509-4FE6-E24C-AA96-C740FC421C24}"/>
              </a:ext>
            </a:extLst>
          </p:cNvPr>
          <p:cNvSpPr/>
          <p:nvPr/>
        </p:nvSpPr>
        <p:spPr>
          <a:xfrm>
            <a:off x="5737781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39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B1010D-DEFC-A24B-9C13-2017C9E20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8" y="480150"/>
            <a:ext cx="416327" cy="52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77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193801" y="1149350"/>
            <a:ext cx="9810751" cy="232410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93801" y="3536950"/>
            <a:ext cx="9810751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50"/>
            </a:lvl1pPr>
            <a:lvl2pPr marL="0" indent="0" algn="ctr">
              <a:spcBef>
                <a:spcPts val="0"/>
              </a:spcBef>
              <a:buSzTx/>
              <a:buNone/>
              <a:defRPr sz="1650"/>
            </a:lvl2pPr>
            <a:lvl3pPr marL="0" indent="0" algn="ctr">
              <a:spcBef>
                <a:spcPts val="0"/>
              </a:spcBef>
              <a:buSzTx/>
              <a:buNone/>
              <a:defRPr sz="1650"/>
            </a:lvl3pPr>
            <a:lvl4pPr marL="0" indent="0" algn="ctr">
              <a:spcBef>
                <a:spcPts val="0"/>
              </a:spcBef>
              <a:buSzTx/>
              <a:buNone/>
              <a:defRPr sz="1650"/>
            </a:lvl4pPr>
            <a:lvl5pPr marL="0" indent="0" algn="ctr">
              <a:spcBef>
                <a:spcPts val="0"/>
              </a:spcBef>
              <a:buSzTx/>
              <a:buNone/>
              <a:defRPr sz="16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91859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656161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1193801" y="4476750"/>
            <a:ext cx="9810751" cy="3116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425" b="1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/>
          </p:nvPr>
        </p:nvSpPr>
        <p:spPr>
          <a:xfrm>
            <a:off x="1193801" y="3003550"/>
            <a:ext cx="9810751" cy="4154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1275"/>
              </a:spcBef>
              <a:buSzTx/>
              <a:buNone/>
              <a:defRPr sz="2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900717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70205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55996" y="2038198"/>
            <a:ext cx="8825659" cy="2619548"/>
          </a:xfrm>
          <a:prstGeom prst="rect">
            <a:avLst/>
          </a:prstGeom>
        </p:spPr>
        <p:txBody>
          <a:bodyPr anchor="t" anchorCtr="0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5996" y="5061770"/>
            <a:ext cx="8825659" cy="646390"/>
          </a:xfrm>
        </p:spPr>
        <p:txBody>
          <a:bodyPr anchor="t"/>
          <a:lstStyle>
            <a:lvl1pPr marL="0" indent="0" algn="ctr">
              <a:buNone/>
              <a:defRPr cap="none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7AB3F4A-6E4A-9441-A32E-6DB59118411A}"/>
              </a:ext>
            </a:extLst>
          </p:cNvPr>
          <p:cNvCxnSpPr>
            <a:cxnSpLocks/>
          </p:cNvCxnSpPr>
          <p:nvPr/>
        </p:nvCxnSpPr>
        <p:spPr>
          <a:xfrm>
            <a:off x="5443867" y="4693486"/>
            <a:ext cx="1249917" cy="0"/>
          </a:xfrm>
          <a:prstGeom prst="line">
            <a:avLst/>
          </a:prstGeom>
          <a:ln w="50800" cap="sq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BE9B87-5D1F-E94B-B539-EC11664BD536}"/>
              </a:ext>
            </a:extLst>
          </p:cNvPr>
          <p:cNvSpPr/>
          <p:nvPr/>
        </p:nvSpPr>
        <p:spPr>
          <a:xfrm>
            <a:off x="5737781" y="0"/>
            <a:ext cx="685800" cy="1143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39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CA907F-9252-0B49-807C-E526EE694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2518" y="480150"/>
            <a:ext cx="416327" cy="52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831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193801" y="2266950"/>
            <a:ext cx="9810751" cy="2324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7627" y="6502400"/>
            <a:ext cx="226619" cy="234950"/>
          </a:xfrm>
          <a:prstGeom prst="rect">
            <a:avLst/>
          </a:prstGeom>
        </p:spPr>
        <p:txBody>
          <a:bodyPr anchor="t"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466735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pPr marL="12700"/>
            <a:r>
              <a:rPr lang="en-US" sz="2400" spc="-2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lang="en-US" sz="2400">
              <a:latin typeface="Calibri"/>
              <a:cs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45543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14401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1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/>
          <a:p>
            <a:pPr marL="12700"/>
            <a:r>
              <a:rPr lang="en-US" sz="2400" spc="-2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lang="en-US" sz="2400">
              <a:latin typeface="Calibri"/>
              <a:cs typeface="Calibri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9624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 spc="225"/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936" y="1590677"/>
            <a:ext cx="9660917" cy="4195481"/>
          </a:xfrm>
        </p:spPr>
        <p:txBody>
          <a:bodyPr/>
          <a:lstStyle>
            <a:lvl1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014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8936" y="1603377"/>
            <a:ext cx="4396339" cy="4195763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0117" y="1598894"/>
            <a:ext cx="4396341" cy="4200245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FE8E80-A07B-124F-8B4E-82E6530FB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 spc="225"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485774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8936" y="1591728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8936" y="2201328"/>
            <a:ext cx="4396339" cy="3741738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40120" y="1591728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0120" y="2201328"/>
            <a:ext cx="4396339" cy="3741738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2995212-60D7-124F-84AF-E046C3435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934919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9E1E285-0B80-5340-9ABB-2C68583FF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936" y="338420"/>
            <a:ext cx="9660917" cy="9855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94016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>
              <a:solidFill>
                <a:schemeClr val="accent4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480ECF-DB9F-8D4C-8BFC-CA6818AE36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3925" y="4057652"/>
            <a:ext cx="7534275" cy="10953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5" y="1976720"/>
            <a:ext cx="7534275" cy="1842807"/>
          </a:xfrm>
          <a:prstGeom prst="rect">
            <a:avLst/>
          </a:prstGeom>
        </p:spPr>
        <p:txBody>
          <a:bodyPr/>
          <a:lstStyle>
            <a:lvl1pPr>
              <a:defRPr sz="450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90" y="6010093"/>
            <a:ext cx="416327" cy="52608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635348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rti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FB98250-ACD1-DE4E-85CA-777ABF485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20715" r="37857"/>
          <a:stretch/>
        </p:blipFill>
        <p:spPr>
          <a:xfrm>
            <a:off x="1" y="0"/>
            <a:ext cx="5050971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8A91DCF-34C5-524F-89F9-D8A7D493EE35}"/>
              </a:ext>
            </a:extLst>
          </p:cNvPr>
          <p:cNvSpPr/>
          <p:nvPr/>
        </p:nvSpPr>
        <p:spPr>
          <a:xfrm>
            <a:off x="1" y="0"/>
            <a:ext cx="5050971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900">
              <a:solidFill>
                <a:schemeClr val="accent4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7332C8-FE29-2A4E-A971-D3E4D2F72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143" y="1780777"/>
            <a:ext cx="3819688" cy="3096025"/>
          </a:xfrm>
          <a:prstGeom prst="rect">
            <a:avLst/>
          </a:prstGeom>
        </p:spPr>
        <p:txBody>
          <a:bodyPr/>
          <a:lstStyle>
            <a:lvl1pPr>
              <a:defRPr sz="450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B540FE-A883-F741-BDFA-057D19B49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6890" y="6010093"/>
            <a:ext cx="416327" cy="52608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C60F2C8-36F6-4049-9F37-A002CD794776}"/>
              </a:ext>
            </a:extLst>
          </p:cNvPr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BEEFB20-F346-D34C-AE92-D02D17441B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20256" y="1780777"/>
            <a:ext cx="3308059" cy="30960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534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3735" y="1209675"/>
            <a:ext cx="3401064" cy="1447800"/>
          </a:xfrm>
          <a:prstGeom prst="rect">
            <a:avLst/>
          </a:prstGeom>
        </p:spPr>
        <p:txBody>
          <a:bodyPr anchor="b"/>
          <a:lstStyle>
            <a:lvl1pPr algn="l">
              <a:defRPr sz="1800" b="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3737" y="2891157"/>
            <a:ext cx="3401063" cy="289559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BE4C0-C38D-A94F-B0EA-B36306C08151}"/>
              </a:ext>
            </a:extLst>
          </p:cNvPr>
          <p:cNvCxnSpPr>
            <a:cxnSpLocks/>
          </p:cNvCxnSpPr>
          <p:nvPr/>
        </p:nvCxnSpPr>
        <p:spPr>
          <a:xfrm>
            <a:off x="4438651" y="1087501"/>
            <a:ext cx="0" cy="4842129"/>
          </a:xfrm>
          <a:prstGeom prst="line">
            <a:avLst/>
          </a:prstGeom>
          <a:ln w="19050" cap="sq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9C3E5EE-E7CA-F846-9999-2A39DDEC2215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712502" y="1209675"/>
            <a:ext cx="6098373" cy="4577080"/>
          </a:xfrm>
          <a:prstGeom prst="roundRect">
            <a:avLst>
              <a:gd name="adj" fmla="val 1858"/>
            </a:avLst>
          </a:prstGeom>
          <a:solidFill>
            <a:schemeClr val="tx2">
              <a:alpha val="25000"/>
            </a:schemeClr>
          </a:solidFill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657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5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0"/>
            <a:ext cx="108857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2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20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1D9D96-DEE1-8844-9F8C-58215BC7B638}"/>
              </a:ext>
            </a:extLst>
          </p:cNvPr>
          <p:cNvPicPr>
            <a:picLocks noChangeAspect="1"/>
          </p:cNvPicPr>
          <p:nvPr/>
        </p:nvPicPr>
        <p:blipFill>
          <a:blip r:embed="rId27">
            <a:alphaModFix amt="35000"/>
          </a:blip>
          <a:stretch>
            <a:fillRect/>
          </a:stretch>
        </p:blipFill>
        <p:spPr>
          <a:xfrm>
            <a:off x="11277260" y="5861954"/>
            <a:ext cx="473803" cy="59871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C11B457-DE30-F840-909D-BFE9638A9CAE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917229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C11B457-DE30-F840-909D-BFE9638A9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6515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</p:sldLayoutIdLst>
  <p:txStyles>
    <p:titleStyle>
      <a:lvl1pPr algn="l" defTabSz="342900" rtl="0" eaLnBrk="1" latinLnBrk="0" hangingPunct="1">
        <a:spcBef>
          <a:spcPct val="0"/>
        </a:spcBef>
        <a:buNone/>
        <a:defRPr sz="3150" b="0" i="0" kern="1200" spc="225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4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marL="557213" indent="-214313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2pPr>
      <a:lvl3pPr marL="8572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3pPr>
      <a:lvl4pPr marL="12001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4pPr>
      <a:lvl5pPr marL="15430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5pPr>
      <a:lvl6pPr marL="187950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05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9.png"/><Relationship Id="rId11" Type="http://schemas.openxmlformats.org/officeDocument/2006/relationships/image" Target="../media/image36.png"/><Relationship Id="rId5" Type="http://schemas.openxmlformats.org/officeDocument/2006/relationships/image" Target="../media/image34.png"/><Relationship Id="rId10" Type="http://schemas.openxmlformats.org/officeDocument/2006/relationships/image" Target="../media/image35.png"/><Relationship Id="rId4" Type="http://schemas.openxmlformats.org/officeDocument/2006/relationships/image" Target="../media/image33.png"/><Relationship Id="rId9" Type="http://schemas.openxmlformats.org/officeDocument/2006/relationships/image" Target="../media/image32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7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28.png"/><Relationship Id="rId9" Type="http://schemas.openxmlformats.org/officeDocument/2006/relationships/image" Target="../media/image4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://scikit-learn.org/stable/modules/generated/sklearn.metrics.silhouette_score.html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scikit-learn.org/stable/modules/clustering.html#clustering-evaluation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D61B1-D56F-AA47-BDF6-4E6F8D4C3F7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2317854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946641" y="292943"/>
            <a:ext cx="3176905" cy="9785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946640" y="1258142"/>
            <a:ext cx="1600200" cy="4959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3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946641" y="292943"/>
            <a:ext cx="3176905" cy="9785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946640" y="1258142"/>
            <a:ext cx="1600200" cy="4959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5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006475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006475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946640" y="1258143"/>
            <a:ext cx="5640070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5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  <a:p>
            <a:pPr marL="12700">
              <a:spcBef>
                <a:spcPts val="60"/>
              </a:spcBef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o “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ct” ans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y to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ap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006475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006475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8875" indent="0">
              <a:buNone/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5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  <a:p>
            <a:pPr marL="1158875" indent="0">
              <a:spcBef>
                <a:spcPts val="60"/>
              </a:spcBef>
              <a:buNone/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o “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ct” ans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endParaRPr sz="3200" dirty="0">
              <a:latin typeface="Calibri"/>
              <a:cs typeface="Calibri"/>
            </a:endParaRPr>
          </a:p>
          <a:p>
            <a:pPr marL="1158875" marR="12700" indent="0">
              <a:lnSpc>
                <a:spcPts val="3900"/>
              </a:lnSpc>
              <a:spcBef>
                <a:spcPts val="40"/>
              </a:spcBef>
              <a:buNone/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e are </a:t>
            </a:r>
            <a:r>
              <a:rPr lang="en-CA" sz="3200" spc="-20" dirty="0">
                <a:solidFill>
                  <a:srgbClr val="7F7F7F"/>
                </a:solidFill>
                <a:latin typeface="Calibri"/>
                <a:cs typeface="Calibri"/>
              </a:rPr>
              <a:t>bett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/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aps 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in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sa</a:t>
            </a:r>
            <a:r>
              <a:rPr sz="3200" spc="-35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851563" y="5345084"/>
            <a:ext cx="6521334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797551" y="5469302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3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0110555" y="541092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3"/>
                </a:lnTo>
                <a:lnTo>
                  <a:pt x="2045" y="95967"/>
                </a:lnTo>
                <a:lnTo>
                  <a:pt x="0" y="103743"/>
                </a:lnTo>
                <a:lnTo>
                  <a:pt x="7067" y="115860"/>
                </a:lnTo>
                <a:lnTo>
                  <a:pt x="14843" y="117908"/>
                </a:lnTo>
                <a:lnTo>
                  <a:pt x="115907" y="58953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751811" y="5432367"/>
            <a:ext cx="324196" cy="1163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222479" y="530584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222461" y="530584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834105" y="530456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834088" y="53045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114123" y="531213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114105" y="531213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823117" y="5324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823100" y="5324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193323" y="531620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193306" y="5316199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434852" y="531059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0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434834" y="531059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437243" y="5316200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437227" y="5316199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090383" y="5311750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090366" y="53117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653349" y="5310219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1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653333" y="5310218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1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692102" y="531585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0" y="346786"/>
                </a:lnTo>
                <a:lnTo>
                  <a:pt x="184054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692084" y="53158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9165229" y="531802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165212" y="531802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664018" y="531585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0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9664001" y="53158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0112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2 Features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ge, In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2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0112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10515" indent="-298450">
              <a:buClr>
                <a:srgbClr val="9BBB59"/>
              </a:buClr>
              <a:buFont typeface="Calibri"/>
              <a:buAutoNum type="arabicPlain" startAt="2"/>
              <a:tabLst>
                <a:tab pos="310515" algn="l"/>
              </a:tabLst>
            </a:pP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atures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ge, In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</a:t>
            </a:r>
            <a:endParaRPr sz="3200" dirty="0">
              <a:latin typeface="Calibri"/>
              <a:cs typeface="Calibri"/>
            </a:endParaRPr>
          </a:p>
          <a:p>
            <a:pPr marL="12065">
              <a:lnSpc>
                <a:spcPts val="3800"/>
              </a:lnSpc>
              <a:buClr>
                <a:srgbClr val="9BBB59"/>
              </a:buClr>
              <a:tabLst>
                <a:tab pos="310515" algn="l"/>
              </a:tabLst>
            </a:pPr>
            <a:r>
              <a:rPr lang="en-CA" sz="3200" spc="-15" dirty="0">
                <a:solidFill>
                  <a:srgbClr val="F79646"/>
                </a:solidFill>
                <a:latin typeface="Calibri"/>
                <a:cs typeface="Calibri"/>
              </a:rPr>
              <a:t>3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0112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10515" indent="-298450">
              <a:buClr>
                <a:srgbClr val="9BBB59"/>
              </a:buClr>
              <a:buFont typeface="Calibri"/>
              <a:buAutoNum type="arabicPlain" startAt="2"/>
              <a:tabLst>
                <a:tab pos="310515" algn="l"/>
              </a:tabLst>
            </a:pP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atures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ge, In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</a:t>
            </a:r>
            <a:endParaRPr sz="3200">
              <a:latin typeface="Calibri"/>
              <a:cs typeface="Calibri"/>
            </a:endParaRPr>
          </a:p>
          <a:p>
            <a:pPr marL="310515" indent="-298450">
              <a:lnSpc>
                <a:spcPts val="3800"/>
              </a:lnSpc>
              <a:buClr>
                <a:srgbClr val="9BBB59"/>
              </a:buClr>
              <a:buFont typeface="Calibri"/>
              <a:buAutoNum type="arabicPlain" startAt="2"/>
              <a:tabLst>
                <a:tab pos="310515" algn="l"/>
              </a:tabLst>
            </a:pP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OR?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0112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2 Features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ge, In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4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01129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2 Features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ge, In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4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OR?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334772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Su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is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d Lear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ni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g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8" y="318187"/>
            <a:ext cx="4178300" cy="6324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4000" dirty="0">
                <a:solidFill>
                  <a:srgbClr val="3FA42C"/>
                </a:solidFill>
                <a:latin typeface="Calibri"/>
                <a:cs typeface="Calibri"/>
              </a:rPr>
              <a:t>Sup</a:t>
            </a:r>
            <a:r>
              <a:rPr sz="4000" spc="-20" dirty="0">
                <a:solidFill>
                  <a:srgbClr val="3FA42C"/>
                </a:solidFill>
                <a:latin typeface="Calibri"/>
                <a:cs typeface="Calibri"/>
              </a:rPr>
              <a:t>ervised Lear</a:t>
            </a:r>
            <a:r>
              <a:rPr sz="4000" dirty="0">
                <a:solidFill>
                  <a:srgbClr val="3FA42C"/>
                </a:solidFill>
                <a:latin typeface="Calibri"/>
                <a:cs typeface="Calibri"/>
              </a:rPr>
              <a:t>nin</a:t>
            </a:r>
            <a:r>
              <a:rPr sz="4000" spc="-20" dirty="0">
                <a:solidFill>
                  <a:srgbClr val="3FA42C"/>
                </a:solidFill>
                <a:latin typeface="Calibri"/>
                <a:cs typeface="Calibri"/>
              </a:rPr>
              <a:t>g</a:t>
            </a:r>
            <a:endParaRPr sz="40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8" y="1632762"/>
            <a:ext cx="2658110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ta 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ith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ect ans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23164" y="1945179"/>
            <a:ext cx="1990897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70120" y="2071857"/>
            <a:ext cx="1771050" cy="0"/>
          </a:xfrm>
          <a:custGeom>
            <a:avLst/>
            <a:gdLst/>
            <a:ahLst/>
            <a:cxnLst/>
            <a:rect l="l" t="t" r="r" b="b"/>
            <a:pathLst>
              <a:path w="1771050">
                <a:moveTo>
                  <a:pt x="0" y="0"/>
                </a:moveTo>
                <a:lnTo>
                  <a:pt x="1771050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950468" y="2012904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5" y="0"/>
                </a:moveTo>
                <a:lnTo>
                  <a:pt x="7068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9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575143" y="1812538"/>
            <a:ext cx="1274319" cy="584776"/>
          </a:xfrm>
          <a:custGeom>
            <a:avLst/>
            <a:gdLst/>
            <a:ahLst/>
            <a:cxnLst/>
            <a:rect l="l" t="t" r="r" b="b"/>
            <a:pathLst>
              <a:path w="1274319" h="584776">
                <a:moveTo>
                  <a:pt x="0" y="0"/>
                </a:moveTo>
                <a:lnTo>
                  <a:pt x="1274319" y="0"/>
                </a:lnTo>
                <a:lnTo>
                  <a:pt x="1274319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653883" y="1858259"/>
            <a:ext cx="107378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m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od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l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270120" y="4635400"/>
            <a:ext cx="1274320" cy="584776"/>
          </a:xfrm>
          <a:custGeom>
            <a:avLst/>
            <a:gdLst/>
            <a:ahLst/>
            <a:cxnLst/>
            <a:rect l="l" t="t" r="r" b="b"/>
            <a:pathLst>
              <a:path w="1274320" h="584776">
                <a:moveTo>
                  <a:pt x="0" y="0"/>
                </a:moveTo>
                <a:lnTo>
                  <a:pt x="1274320" y="0"/>
                </a:lnTo>
                <a:lnTo>
                  <a:pt x="1274320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348861" y="4681120"/>
            <a:ext cx="107378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m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od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l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048767" y="4496813"/>
            <a:ext cx="1610360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Predi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ted ans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171603" y="4842164"/>
            <a:ext cx="897774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16577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807900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18712" y="4842164"/>
            <a:ext cx="90193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066206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657529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150551" y="4250591"/>
            <a:ext cx="1647825" cy="1453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New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ta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ith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t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ans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587629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Su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is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d Lear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ni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g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ind d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cisi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 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un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a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y using lab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l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4915593" y="1862051"/>
            <a:ext cx="4339243" cy="40566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4975264" y="1898497"/>
            <a:ext cx="4222562" cy="3936054"/>
          </a:xfrm>
          <a:custGeom>
            <a:avLst/>
            <a:gdLst/>
            <a:ahLst/>
            <a:cxnLst/>
            <a:rect l="l" t="t" r="r" b="b"/>
            <a:pathLst>
              <a:path w="4222562" h="3936054">
                <a:moveTo>
                  <a:pt x="0" y="0"/>
                </a:moveTo>
                <a:lnTo>
                  <a:pt x="4222562" y="3936054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2"/>
            <a:ext cx="379412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Unsup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vis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d Lea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nin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g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530161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Unsup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vis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d Lea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nin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g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ind 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 in unlabeled d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ta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685800"/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Unsup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vis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d Lear</a:t>
            </a:r>
            <a:r>
              <a:rPr sz="3200" spc="0" dirty="0">
                <a:solidFill>
                  <a:srgbClr val="4F81BD"/>
                </a:solidFill>
                <a:latin typeface="Calibri"/>
                <a:cs typeface="Calibri"/>
              </a:rPr>
              <a:t>nin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g</a:t>
            </a:r>
            <a:endParaRPr sz="3200">
              <a:latin typeface="Calibri"/>
              <a:cs typeface="Calibri"/>
            </a:endParaRPr>
          </a:p>
          <a:p>
            <a:pPr marL="6858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ind 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 in unlabeled d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ta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79" name="object 79"/>
          <p:cNvSpPr txBox="1">
            <a:spLocks noGrp="1"/>
          </p:cNvSpPr>
          <p:nvPr>
            <p:ph type="ftr" sz="quarter" idx="4294967295"/>
          </p:nvPr>
        </p:nvSpPr>
        <p:spPr>
          <a:xfrm>
            <a:off x="11695113" y="6062663"/>
            <a:ext cx="496887" cy="3841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4923906" y="2971800"/>
            <a:ext cx="4002577" cy="12095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4994564" y="2996739"/>
            <a:ext cx="3736571" cy="12095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4975262" y="2997779"/>
            <a:ext cx="3901834" cy="11079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975263" y="2997780"/>
            <a:ext cx="3901835" cy="1107995"/>
          </a:xfrm>
          <a:custGeom>
            <a:avLst/>
            <a:gdLst/>
            <a:ahLst/>
            <a:cxnLst/>
            <a:rect l="l" t="t" r="r" b="b"/>
            <a:pathLst>
              <a:path w="3901835" h="1107995">
                <a:moveTo>
                  <a:pt x="0" y="0"/>
                </a:moveTo>
                <a:lnTo>
                  <a:pt x="3901835" y="0"/>
                </a:lnTo>
                <a:lnTo>
                  <a:pt x="3901835" y="1107995"/>
                </a:lnTo>
                <a:lnTo>
                  <a:pt x="0" y="1107995"/>
                </a:lnTo>
                <a:lnTo>
                  <a:pt x="0" y="0"/>
                </a:lnTo>
                <a:close/>
              </a:path>
            </a:pathLst>
          </a:custGeom>
          <a:ln w="9524">
            <a:solidFill>
              <a:srgbClr val="9076B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/>
          <p:nvPr/>
        </p:nvSpPr>
        <p:spPr>
          <a:xfrm>
            <a:off x="5054003" y="3043500"/>
            <a:ext cx="3628390" cy="10356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6600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6600" spc="-40" dirty="0">
                <a:solidFill>
                  <a:srgbClr val="FFFFFF"/>
                </a:solidFill>
                <a:latin typeface="Calibri"/>
                <a:cs typeface="Calibri"/>
              </a:rPr>
              <a:t>K</a:t>
            </a:r>
            <a:r>
              <a:rPr sz="6600" dirty="0">
                <a:solidFill>
                  <a:srgbClr val="FFFFFF"/>
                </a:solidFill>
                <a:latin typeface="Calibri"/>
                <a:cs typeface="Calibri"/>
              </a:rPr>
              <a:t>. H</a:t>
            </a:r>
            <a:r>
              <a:rPr sz="6600" spc="-5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6600" spc="-65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6600" dirty="0">
                <a:solidFill>
                  <a:srgbClr val="FFFFFF"/>
                </a:solidFill>
                <a:latin typeface="Calibri"/>
                <a:cs typeface="Calibri"/>
              </a:rPr>
              <a:t>?</a:t>
            </a:r>
            <a:endParaRPr sz="6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329184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al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g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ith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m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(ﬁnd 2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04774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Ran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l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y assign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two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uster cente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052671" y="265668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052671" y="265668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164251" y="4009392"/>
            <a:ext cx="394167" cy="381728"/>
          </a:xfrm>
          <a:custGeom>
            <a:avLst/>
            <a:gdLst/>
            <a:ahLst/>
            <a:cxnLst/>
            <a:rect l="l" t="t" r="r" b="b"/>
            <a:pathLst>
              <a:path w="394167" h="381728">
                <a:moveTo>
                  <a:pt x="0" y="0"/>
                </a:moveTo>
                <a:lnTo>
                  <a:pt x="394167" y="0"/>
                </a:lnTo>
                <a:lnTo>
                  <a:pt x="394167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164251" y="4009393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597535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ch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b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s to c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center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052671" y="265668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052671" y="265668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164251" y="4009392"/>
            <a:ext cx="394167" cy="381728"/>
          </a:xfrm>
          <a:custGeom>
            <a:avLst/>
            <a:gdLst/>
            <a:ahLst/>
            <a:cxnLst/>
            <a:rect l="l" t="t" r="r" b="b"/>
            <a:pathLst>
              <a:path w="394167" h="381728">
                <a:moveTo>
                  <a:pt x="0" y="0"/>
                </a:moveTo>
                <a:lnTo>
                  <a:pt x="394167" y="0"/>
                </a:lnTo>
                <a:lnTo>
                  <a:pt x="394167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164251" y="4009393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59003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M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v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ach center 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’s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a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999580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999580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61924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ch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b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s 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center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999580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999580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652134" y="33920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59003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M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v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ach center 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’s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a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899198" y="2581198"/>
            <a:ext cx="394168" cy="381728"/>
          </a:xfrm>
          <a:custGeom>
            <a:avLst/>
            <a:gdLst/>
            <a:ahLst/>
            <a:cxnLst/>
            <a:rect l="l" t="t" r="r" b="b"/>
            <a:pathLst>
              <a:path w="394168" h="381728">
                <a:moveTo>
                  <a:pt x="0" y="0"/>
                </a:moveTo>
                <a:lnTo>
                  <a:pt x="394168" y="0"/>
                </a:lnTo>
                <a:lnTo>
                  <a:pt x="394168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899198" y="258120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318187"/>
            <a:ext cx="4736465" cy="6324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4000" spc="-30" dirty="0">
                <a:solidFill>
                  <a:srgbClr val="FF0000"/>
                </a:solidFill>
                <a:latin typeface="Calibri"/>
                <a:cs typeface="Calibri"/>
              </a:rPr>
              <a:t>Unsup</a:t>
            </a:r>
            <a:r>
              <a:rPr sz="4000" spc="-20" dirty="0">
                <a:solidFill>
                  <a:srgbClr val="FF0000"/>
                </a:solidFill>
                <a:latin typeface="Calibri"/>
                <a:cs typeface="Calibri"/>
              </a:rPr>
              <a:t>ervised Lear</a:t>
            </a:r>
            <a:r>
              <a:rPr sz="4000" dirty="0">
                <a:solidFill>
                  <a:srgbClr val="FF0000"/>
                </a:solidFill>
                <a:latin typeface="Calibri"/>
                <a:cs typeface="Calibri"/>
              </a:rPr>
              <a:t>nin</a:t>
            </a:r>
            <a:r>
              <a:rPr sz="4000" spc="-20" dirty="0">
                <a:solidFill>
                  <a:srgbClr val="FF0000"/>
                </a:solidFill>
                <a:latin typeface="Calibri"/>
                <a:cs typeface="Calibri"/>
              </a:rPr>
              <a:t>g</a:t>
            </a:r>
            <a:endParaRPr sz="40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9" y="3098591"/>
            <a:ext cx="2580005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Unlab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led 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ta</a:t>
            </a:r>
            <a:r>
              <a:rPr sz="3200" spc="-10" dirty="0">
                <a:solidFill>
                  <a:srgbClr val="4F81BD"/>
                </a:solidFill>
                <a:latin typeface="Calibri"/>
                <a:cs typeface="Calibri"/>
              </a:rPr>
              <a:t> (no ans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)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23164" y="3445626"/>
            <a:ext cx="1990897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70120" y="3571159"/>
            <a:ext cx="1771050" cy="0"/>
          </a:xfrm>
          <a:custGeom>
            <a:avLst/>
            <a:gdLst/>
            <a:ahLst/>
            <a:cxnLst/>
            <a:rect l="l" t="t" r="r" b="b"/>
            <a:pathLst>
              <a:path w="1771050">
                <a:moveTo>
                  <a:pt x="0" y="0"/>
                </a:moveTo>
                <a:lnTo>
                  <a:pt x="1771050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950468" y="3512205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575141" y="3311841"/>
            <a:ext cx="1798046" cy="584776"/>
          </a:xfrm>
          <a:custGeom>
            <a:avLst/>
            <a:gdLst/>
            <a:ahLst/>
            <a:cxnLst/>
            <a:rect l="l" t="t" r="r" b="b"/>
            <a:pathLst>
              <a:path w="1798046" h="584776">
                <a:moveTo>
                  <a:pt x="0" y="0"/>
                </a:moveTo>
                <a:lnTo>
                  <a:pt x="1798046" y="0"/>
                </a:lnTo>
                <a:lnTo>
                  <a:pt x="1798046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653881" y="3357560"/>
            <a:ext cx="154114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F2F2F2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F2F2F2"/>
                </a:solidFill>
                <a:latin typeface="Calibri"/>
                <a:cs typeface="Calibri"/>
              </a:rPr>
              <a:t>r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709780" y="4439354"/>
            <a:ext cx="505968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Making a </a:t>
            </a:r>
            <a:r>
              <a:rPr sz="2400" spc="-20" dirty="0">
                <a:solidFill>
                  <a:srgbClr val="9BBB59"/>
                </a:solidFill>
                <a:latin typeface="Calibri"/>
                <a:cs typeface="Calibri"/>
              </a:rPr>
              <a:t>map to </a:t>
            </a:r>
            <a:r>
              <a:rPr lang="en-CA" sz="2400" spc="-20" dirty="0">
                <a:solidFill>
                  <a:srgbClr val="9BBB59"/>
                </a:solidFill>
                <a:latin typeface="Calibri"/>
                <a:cs typeface="Calibri"/>
              </a:rPr>
              <a:t>better</a:t>
            </a:r>
            <a:r>
              <a:rPr sz="2400" spc="-15" dirty="0">
                <a:solidFill>
                  <a:srgbClr val="9BBB59"/>
                </a:solidFill>
                <a:latin typeface="Calibri"/>
                <a:cs typeface="Calibri"/>
              </a:rPr>
              <a:t> understand data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61924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ch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b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s 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center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497048" y="4421493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899198" y="2581198"/>
            <a:ext cx="394168" cy="381728"/>
          </a:xfrm>
          <a:custGeom>
            <a:avLst/>
            <a:gdLst/>
            <a:ahLst/>
            <a:cxnLst/>
            <a:rect l="l" t="t" r="r" b="b"/>
            <a:pathLst>
              <a:path w="394168" h="381728">
                <a:moveTo>
                  <a:pt x="0" y="0"/>
                </a:moveTo>
                <a:lnTo>
                  <a:pt x="394168" y="0"/>
                </a:lnTo>
                <a:lnTo>
                  <a:pt x="394168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899198" y="258120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59003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M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v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ach center 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’s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a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4970780" cy="9785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3820"/>
              </a:lnSpc>
            </a:pPr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2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20"/>
              </a:lnSpc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ts 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’t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ha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ge any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.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25916" y="1258142"/>
            <a:ext cx="1936114" cy="4959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Con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v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g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e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d!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891861" y="466281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218948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3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sul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t: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206921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206920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973783" y="5167846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973784" y="516784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96506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3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pend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 initial assignment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sults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an diﬀ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047394" y="263950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047394" y="263950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06613" y="2545866"/>
            <a:ext cx="394168" cy="381728"/>
          </a:xfrm>
          <a:custGeom>
            <a:avLst/>
            <a:gdLst/>
            <a:ahLst/>
            <a:cxnLst/>
            <a:rect l="l" t="t" r="r" b="b"/>
            <a:pathLst>
              <a:path w="394168" h="381728">
                <a:moveTo>
                  <a:pt x="0" y="0"/>
                </a:moveTo>
                <a:lnTo>
                  <a:pt x="394168" y="0"/>
                </a:lnTo>
                <a:lnTo>
                  <a:pt x="394168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06613" y="254586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496506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4F81BD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eans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=3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pend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 initial assignment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sults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an diﬀ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82932" y="194063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82930" y="194063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006475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 dirty="0">
              <a:latin typeface="Calibri"/>
              <a:cs typeface="Calibri"/>
            </a:endParaRPr>
          </a:p>
          <a:p>
            <a:pPr marL="1006475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8875" indent="0">
              <a:buNone/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5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  <a:p>
            <a:pPr marL="1158875" indent="0">
              <a:spcBef>
                <a:spcPts val="60"/>
              </a:spcBef>
              <a:buNone/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o “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ct” ans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endParaRPr sz="3200" dirty="0">
              <a:latin typeface="Calibri"/>
              <a:cs typeface="Calibri"/>
            </a:endParaRPr>
          </a:p>
          <a:p>
            <a:pPr marL="1158875" marR="12700" indent="0">
              <a:lnSpc>
                <a:spcPts val="3900"/>
              </a:lnSpc>
              <a:spcBef>
                <a:spcPts val="40"/>
              </a:spcBef>
              <a:buNone/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B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u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e are </a:t>
            </a:r>
            <a:r>
              <a:rPr lang="en-CA" sz="3200" spc="-20" dirty="0">
                <a:solidFill>
                  <a:srgbClr val="7F7F7F"/>
                </a:solidFill>
                <a:latin typeface="Calibri"/>
                <a:cs typeface="Calibri"/>
              </a:rPr>
              <a:t>bett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/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aps 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in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sa</a:t>
            </a:r>
            <a:r>
              <a:rPr sz="3200" spc="-35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851563" y="5345084"/>
            <a:ext cx="6521334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797551" y="5469302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3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0110555" y="541092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3"/>
                </a:lnTo>
                <a:lnTo>
                  <a:pt x="2045" y="95967"/>
                </a:lnTo>
                <a:lnTo>
                  <a:pt x="0" y="103743"/>
                </a:lnTo>
                <a:lnTo>
                  <a:pt x="7067" y="115860"/>
                </a:lnTo>
                <a:lnTo>
                  <a:pt x="14843" y="117908"/>
                </a:lnTo>
                <a:lnTo>
                  <a:pt x="115907" y="58953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751811" y="5432367"/>
            <a:ext cx="324196" cy="1163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222479" y="530584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222461" y="530584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834105" y="530456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834088" y="53045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114123" y="531213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114105" y="531213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823117" y="5324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823100" y="5324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193323" y="531620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193306" y="5316199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434852" y="531059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0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434834" y="531059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437243" y="5316200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437227" y="5316199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090383" y="5311750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090366" y="53117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7719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653349" y="5310219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1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653333" y="5310218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1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692102" y="531585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0" y="346786"/>
                </a:lnTo>
                <a:lnTo>
                  <a:pt x="184054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692084" y="53158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9165229" y="531802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165212" y="531802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664018" y="531585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0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9664001" y="53158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313263"/>
            <a:ext cx="5794375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aps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are </a:t>
            </a:r>
            <a:r>
              <a:rPr lang="en-CA" sz="3200" spc="-20" dirty="0">
                <a:solidFill>
                  <a:srgbClr val="7F7F7F"/>
                </a:solidFill>
                <a:latin typeface="Calibri"/>
                <a:cs typeface="Calibri"/>
              </a:rPr>
              <a:t>bette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 than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: L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et’s ﬁnd a sc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 f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r each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82932" y="194063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82930" y="194063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313263"/>
            <a:ext cx="6558915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lang="en-CA" sz="3200" dirty="0">
                <a:solidFill>
                  <a:srgbClr val="F79646"/>
                </a:solidFill>
                <a:latin typeface="Calibri"/>
                <a:cs typeface="Calibri"/>
              </a:rPr>
              <a:t>Inertia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: su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 squ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are dista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es in each cluster (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w </a:t>
            </a:r>
            <a:r>
              <a:rPr lang="en-CA" sz="3200" spc="-25" dirty="0">
                <a:solidFill>
                  <a:srgbClr val="7F7F7F"/>
                </a:solidFill>
                <a:latin typeface="Calibri"/>
                <a:cs typeface="Calibri"/>
              </a:rPr>
              <a:t>inertia = high density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82932" y="194063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82930" y="194063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654177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dirty="0">
                <a:solidFill>
                  <a:srgbClr val="7F7F7F"/>
                </a:solidFill>
                <a:latin typeface="Calibri"/>
                <a:cs typeface="Calibri"/>
              </a:rPr>
              <a:t>Initiate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 at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 a bu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h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</a:t>
            </a:r>
            <a:r>
              <a:rPr lang="en-CA" sz="3200" dirty="0">
                <a:solidFill>
                  <a:srgbClr val="7F7F7F"/>
                </a:solidFill>
                <a:latin typeface="Calibri"/>
                <a:cs typeface="Calibri"/>
              </a:rPr>
              <a:t> times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T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ake the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g 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ith th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 bes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t sc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e!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318187"/>
            <a:ext cx="4736465" cy="6324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4000" spc="-30" dirty="0">
                <a:solidFill>
                  <a:srgbClr val="FF0000"/>
                </a:solidFill>
                <a:latin typeface="Calibri"/>
                <a:cs typeface="Calibri"/>
              </a:rPr>
              <a:t>Unsup</a:t>
            </a:r>
            <a:r>
              <a:rPr sz="4000" spc="-20" dirty="0">
                <a:solidFill>
                  <a:srgbClr val="FF0000"/>
                </a:solidFill>
                <a:latin typeface="Calibri"/>
                <a:cs typeface="Calibri"/>
              </a:rPr>
              <a:t>ervised Lear</a:t>
            </a:r>
            <a:r>
              <a:rPr sz="4000" dirty="0">
                <a:solidFill>
                  <a:srgbClr val="FF0000"/>
                </a:solidFill>
                <a:latin typeface="Calibri"/>
                <a:cs typeface="Calibri"/>
              </a:rPr>
              <a:t>nin</a:t>
            </a:r>
            <a:r>
              <a:rPr sz="4000" spc="-20" dirty="0">
                <a:solidFill>
                  <a:srgbClr val="FF0000"/>
                </a:solidFill>
                <a:latin typeface="Calibri"/>
                <a:cs typeface="Calibri"/>
              </a:rPr>
              <a:t>g</a:t>
            </a:r>
            <a:endParaRPr sz="40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9" y="1599288"/>
            <a:ext cx="2580005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Unlab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led 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ta</a:t>
            </a:r>
            <a:r>
              <a:rPr sz="3200" spc="-10" dirty="0">
                <a:solidFill>
                  <a:srgbClr val="4F81BD"/>
                </a:solidFill>
                <a:latin typeface="Calibri"/>
                <a:cs typeface="Calibri"/>
              </a:rPr>
              <a:t> (no ans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)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23164" y="1945179"/>
            <a:ext cx="1990897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70120" y="2071857"/>
            <a:ext cx="1771050" cy="0"/>
          </a:xfrm>
          <a:custGeom>
            <a:avLst/>
            <a:gdLst/>
            <a:ahLst/>
            <a:cxnLst/>
            <a:rect l="l" t="t" r="r" b="b"/>
            <a:pathLst>
              <a:path w="1771050">
                <a:moveTo>
                  <a:pt x="0" y="0"/>
                </a:moveTo>
                <a:lnTo>
                  <a:pt x="1771050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950468" y="2012904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5" y="0"/>
                </a:moveTo>
                <a:lnTo>
                  <a:pt x="7068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9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575141" y="1812538"/>
            <a:ext cx="1798046" cy="584776"/>
          </a:xfrm>
          <a:custGeom>
            <a:avLst/>
            <a:gdLst/>
            <a:ahLst/>
            <a:cxnLst/>
            <a:rect l="l" t="t" r="r" b="b"/>
            <a:pathLst>
              <a:path w="1798046" h="584776">
                <a:moveTo>
                  <a:pt x="0" y="0"/>
                </a:moveTo>
                <a:lnTo>
                  <a:pt x="1798046" y="0"/>
                </a:lnTo>
                <a:lnTo>
                  <a:pt x="1798046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653881" y="1858259"/>
            <a:ext cx="154114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F2F2F2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F2F2F2"/>
                </a:solidFill>
                <a:latin typeface="Calibri"/>
                <a:cs typeface="Calibri"/>
              </a:rPr>
              <a:t>r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908431" y="4451814"/>
            <a:ext cx="2142472" cy="1077217"/>
          </a:xfrm>
          <a:custGeom>
            <a:avLst/>
            <a:gdLst/>
            <a:ahLst/>
            <a:cxnLst/>
            <a:rect l="l" t="t" r="r" b="b"/>
            <a:pathLst>
              <a:path w="2142472" h="1077217">
                <a:moveTo>
                  <a:pt x="0" y="0"/>
                </a:moveTo>
                <a:lnTo>
                  <a:pt x="2142472" y="0"/>
                </a:lnTo>
                <a:lnTo>
                  <a:pt x="2142472" y="1077217"/>
                </a:lnTo>
                <a:lnTo>
                  <a:pt x="0" y="1077217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987171" y="4517854"/>
            <a:ext cx="1835150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Sup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</a:t>
            </a:r>
            <a:r>
              <a:rPr sz="3200" spc="-20" dirty="0">
                <a:solidFill>
                  <a:srgbClr val="F2F2F2"/>
                </a:solidFill>
                <a:latin typeface="Calibri"/>
                <a:cs typeface="Calibri"/>
              </a:rPr>
              <a:t>rv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is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d 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m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od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l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048767" y="4221431"/>
            <a:ext cx="2125980" cy="1453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P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ce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f 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w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d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ta in th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s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tructu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171603" y="4842164"/>
            <a:ext cx="897774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216577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807900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18712" y="4842164"/>
            <a:ext cx="901930" cy="29510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066206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657529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150551" y="4250591"/>
            <a:ext cx="1712595" cy="1453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New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Unlab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led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ta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946371" y="2572789"/>
            <a:ext cx="2489662" cy="196180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174831" y="2610468"/>
            <a:ext cx="2203821" cy="1681061"/>
          </a:xfrm>
          <a:custGeom>
            <a:avLst/>
            <a:gdLst/>
            <a:ahLst/>
            <a:cxnLst/>
            <a:rect l="l" t="t" r="r" b="b"/>
            <a:pathLst>
              <a:path w="2203821" h="1681061">
                <a:moveTo>
                  <a:pt x="2203821" y="0"/>
                </a:moveTo>
                <a:lnTo>
                  <a:pt x="0" y="1681061"/>
                </a:lnTo>
              </a:path>
            </a:pathLst>
          </a:custGeom>
          <a:ln w="38099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144771" y="4150769"/>
            <a:ext cx="180397" cy="163688"/>
          </a:xfrm>
          <a:custGeom>
            <a:avLst/>
            <a:gdLst/>
            <a:ahLst/>
            <a:cxnLst/>
            <a:rect l="l" t="t" r="r" b="b"/>
            <a:pathLst>
              <a:path w="180397" h="163688">
                <a:moveTo>
                  <a:pt x="75656" y="0"/>
                </a:moveTo>
                <a:lnTo>
                  <a:pt x="65671" y="6458"/>
                </a:lnTo>
                <a:lnTo>
                  <a:pt x="62889" y="11162"/>
                </a:lnTo>
                <a:lnTo>
                  <a:pt x="0" y="163688"/>
                </a:lnTo>
                <a:lnTo>
                  <a:pt x="163724" y="143354"/>
                </a:lnTo>
                <a:lnTo>
                  <a:pt x="175342" y="137406"/>
                </a:lnTo>
                <a:lnTo>
                  <a:pt x="180397" y="125569"/>
                </a:lnTo>
                <a:lnTo>
                  <a:pt x="180281" y="122102"/>
                </a:lnTo>
                <a:lnTo>
                  <a:pt x="178093" y="117828"/>
                </a:lnTo>
                <a:lnTo>
                  <a:pt x="60120" y="117828"/>
                </a:lnTo>
                <a:lnTo>
                  <a:pt x="98112" y="25686"/>
                </a:lnTo>
                <a:lnTo>
                  <a:pt x="98926" y="13579"/>
                </a:lnTo>
                <a:lnTo>
                  <a:pt x="92466" y="3594"/>
                </a:lnTo>
                <a:lnTo>
                  <a:pt x="87763" y="813"/>
                </a:lnTo>
                <a:lnTo>
                  <a:pt x="75656" y="0"/>
                </a:lnTo>
                <a:close/>
              </a:path>
              <a:path w="180397" h="163688">
                <a:moveTo>
                  <a:pt x="162496" y="105429"/>
                </a:moveTo>
                <a:lnTo>
                  <a:pt x="159029" y="105545"/>
                </a:lnTo>
                <a:lnTo>
                  <a:pt x="60120" y="117828"/>
                </a:lnTo>
                <a:lnTo>
                  <a:pt x="178093" y="117828"/>
                </a:lnTo>
                <a:lnTo>
                  <a:pt x="174333" y="110484"/>
                </a:lnTo>
                <a:lnTo>
                  <a:pt x="162496" y="105429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62509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dirty="0">
                <a:solidFill>
                  <a:srgbClr val="4F81BD"/>
                </a:solidFill>
                <a:latin typeface="Calibri"/>
                <a:cs typeface="Calibri"/>
              </a:rPr>
              <a:t>Inertia </a:t>
            </a:r>
            <a:r>
              <a:rPr sz="3200" spc="-220" dirty="0">
                <a:solidFill>
                  <a:srgbClr val="4F81BD"/>
                </a:solidFill>
                <a:latin typeface="Calibri"/>
                <a:cs typeface="Calibri"/>
              </a:rPr>
              <a:t>=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12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.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64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5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206921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206920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973783" y="5167846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973784" y="516784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62509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dirty="0">
                <a:solidFill>
                  <a:srgbClr val="4F81BD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4F81BD"/>
                </a:solidFill>
                <a:latin typeface="Calibri"/>
                <a:cs typeface="Calibri"/>
              </a:rPr>
              <a:t> =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12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.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94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3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047394" y="263950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047394" y="263950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06613" y="2545866"/>
            <a:ext cx="394168" cy="381728"/>
          </a:xfrm>
          <a:custGeom>
            <a:avLst/>
            <a:gdLst/>
            <a:ahLst/>
            <a:cxnLst/>
            <a:rect l="l" t="t" r="r" b="b"/>
            <a:pathLst>
              <a:path w="394168" h="381728">
                <a:moveTo>
                  <a:pt x="0" y="0"/>
                </a:moveTo>
                <a:lnTo>
                  <a:pt x="394168" y="0"/>
                </a:lnTo>
                <a:lnTo>
                  <a:pt x="394168" y="381728"/>
                </a:lnTo>
                <a:lnTo>
                  <a:pt x="0" y="381728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06613" y="254586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262509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dirty="0">
                <a:solidFill>
                  <a:srgbClr val="4F81BD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4F81BD"/>
                </a:solidFill>
                <a:latin typeface="Calibri"/>
                <a:cs typeface="Calibri"/>
              </a:rPr>
              <a:t> =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13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.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11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2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534167" y="290470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82932" y="194063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82930" y="194063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825956" y="4678110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825957" y="4678110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2"/>
            <a:ext cx="401129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2795905" algn="l"/>
              </a:tabLst>
            </a:pPr>
            <a:r>
              <a:rPr lang="en-CA" sz="3200" dirty="0">
                <a:solidFill>
                  <a:srgbClr val="F79646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F79646"/>
                </a:solidFill>
                <a:latin typeface="Calibri"/>
                <a:cs typeface="Calibri"/>
              </a:rPr>
              <a:t> = 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12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.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64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5</a:t>
            </a:r>
            <a:r>
              <a:rPr lang="en-CA" sz="3200" spc="-20" dirty="0">
                <a:solidFill>
                  <a:srgbClr val="F79646"/>
                </a:solidFill>
                <a:latin typeface="Calibri"/>
                <a:cs typeface="Calibri"/>
              </a:rPr>
              <a:t>  </a:t>
            </a:r>
            <a:r>
              <a:rPr lang="en-CA" sz="3200" spc="-20" dirty="0">
                <a:solidFill>
                  <a:srgbClr val="F79646"/>
                </a:solidFill>
                <a:latin typeface="Calibri" panose="020F0502020204030204" pitchFamily="34" charset="0"/>
                <a:cs typeface="Calibri"/>
              </a:rPr>
              <a:t>←</a:t>
            </a:r>
            <a:r>
              <a:rPr lang="en-CA" sz="3200" spc="-20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spc="-20" dirty="0">
                <a:solidFill>
                  <a:srgbClr val="FAA757"/>
                </a:solidFill>
                <a:latin typeface="Calibri"/>
                <a:cs typeface="Calibri"/>
              </a:rPr>
              <a:t>MI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206921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206920" y="42504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768217" y="258275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973783" y="5167846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973784" y="516784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313263"/>
            <a:ext cx="6374765" cy="9709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3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h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di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nsi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s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I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may have to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ry a l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! 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ma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ter </a:t>
            </a:r>
            <a:r>
              <a:rPr sz="3200" spc="-30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ay to </a:t>
            </a:r>
            <a:r>
              <a:rPr lang="en-CA" sz="3200" spc="-15" dirty="0">
                <a:solidFill>
                  <a:srgbClr val="4F81BD"/>
                </a:solidFill>
                <a:latin typeface="Calibri"/>
                <a:cs typeface="Calibri"/>
              </a:rPr>
              <a:t>initialize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?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2"/>
            <a:ext cx="1859914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6601459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P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k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at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 as 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initial </a:t>
            </a:r>
            <a:r>
              <a:rPr sz="3200" spc="-220" dirty="0">
                <a:solidFill>
                  <a:srgbClr val="7F7F7F"/>
                </a:solidFill>
                <a:latin typeface="Calibri"/>
                <a:cs typeface="Calibri"/>
              </a:rPr>
              <a:t>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315264" y="399757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315264" y="399757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593407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P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k 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x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o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as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dista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150" spc="15" baseline="25132" dirty="0">
                <a:solidFill>
                  <a:srgbClr val="919191"/>
                </a:solidFill>
                <a:latin typeface="Calibri"/>
                <a:cs typeface="Calibri"/>
              </a:rPr>
              <a:t>2 </a:t>
            </a:r>
            <a:r>
              <a:rPr sz="3150" spc="-345" baseline="25132" dirty="0">
                <a:solidFill>
                  <a:srgbClr val="919191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o ﬁ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315264" y="399757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315264" y="399757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98236" y="2150942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98236" y="2150941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593407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P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k 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x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o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as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dista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150" spc="15" baseline="25132" dirty="0">
                <a:solidFill>
                  <a:srgbClr val="919191"/>
                </a:solidFill>
                <a:latin typeface="Calibri"/>
                <a:cs typeface="Calibri"/>
              </a:rPr>
              <a:t>2 </a:t>
            </a:r>
            <a:r>
              <a:rPr sz="3150" spc="-345" baseline="25132" dirty="0">
                <a:solidFill>
                  <a:srgbClr val="919191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315264" y="399757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315264" y="399757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98236" y="2150942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98236" y="2150941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355081" y="4958679"/>
            <a:ext cx="440072" cy="455372"/>
          </a:xfrm>
          <a:custGeom>
            <a:avLst/>
            <a:gdLst/>
            <a:ahLst/>
            <a:cxnLst/>
            <a:rect l="l" t="t" r="r" b="b"/>
            <a:pathLst>
              <a:path w="440072" h="455372">
                <a:moveTo>
                  <a:pt x="0" y="0"/>
                </a:moveTo>
                <a:lnTo>
                  <a:pt x="440072" y="0"/>
                </a:lnTo>
                <a:lnTo>
                  <a:pt x="440072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355082" y="4958679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593407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P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k 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x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ob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as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dista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3150" spc="15" baseline="25132" dirty="0">
                <a:solidFill>
                  <a:srgbClr val="919191"/>
                </a:solidFill>
                <a:latin typeface="Calibri"/>
                <a:cs typeface="Calibri"/>
              </a:rPr>
              <a:t>2 </a:t>
            </a:r>
            <a:r>
              <a:rPr sz="3150" spc="-345" baseline="25132" dirty="0">
                <a:solidFill>
                  <a:srgbClr val="919191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o 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315264" y="399757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315264" y="399757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498236" y="2150942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498236" y="2150941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355081" y="4958679"/>
            <a:ext cx="440072" cy="455372"/>
          </a:xfrm>
          <a:custGeom>
            <a:avLst/>
            <a:gdLst/>
            <a:ahLst/>
            <a:cxnLst/>
            <a:rect l="l" t="t" r="r" b="b"/>
            <a:pathLst>
              <a:path w="440072" h="455372">
                <a:moveTo>
                  <a:pt x="0" y="0"/>
                </a:moveTo>
                <a:lnTo>
                  <a:pt x="440072" y="0"/>
                </a:lnTo>
                <a:lnTo>
                  <a:pt x="440072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355082" y="4958679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493761" y="242216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493761" y="242216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D665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318187"/>
            <a:ext cx="688530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b="1" spc="-20" dirty="0">
                <a:solidFill>
                  <a:srgbClr val="9BBB59"/>
                </a:solidFill>
                <a:latin typeface="Calibri"/>
                <a:cs typeface="Calibri"/>
              </a:rPr>
              <a:t>Classification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: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l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ith 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categ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 lab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l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8" y="1215506"/>
            <a:ext cx="2633980" cy="18446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9980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, shape, </a:t>
            </a:r>
            <a:r>
              <a:rPr sz="2400" spc="-2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igh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t, s</a:t>
            </a:r>
            <a:r>
              <a:rPr sz="2400" spc="-2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etnes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, s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n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ss f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 a bunch 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 appl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, bananas &amp; p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ache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23164" y="1945179"/>
            <a:ext cx="1990897" cy="2951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70120" y="2071857"/>
            <a:ext cx="1771050" cy="0"/>
          </a:xfrm>
          <a:custGeom>
            <a:avLst/>
            <a:gdLst/>
            <a:ahLst/>
            <a:cxnLst/>
            <a:rect l="l" t="t" r="r" b="b"/>
            <a:pathLst>
              <a:path w="1771050">
                <a:moveTo>
                  <a:pt x="0" y="0"/>
                </a:moveTo>
                <a:lnTo>
                  <a:pt x="1771050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950468" y="2012904"/>
            <a:ext cx="115909" cy="117909"/>
          </a:xfrm>
          <a:custGeom>
            <a:avLst/>
            <a:gdLst/>
            <a:ahLst/>
            <a:cxnLst/>
            <a:rect l="l" t="t" r="r" b="b"/>
            <a:pathLst>
              <a:path w="115909" h="117909">
                <a:moveTo>
                  <a:pt x="14845" y="0"/>
                </a:moveTo>
                <a:lnTo>
                  <a:pt x="7068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9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575143" y="1812538"/>
            <a:ext cx="1274319" cy="584776"/>
          </a:xfrm>
          <a:custGeom>
            <a:avLst/>
            <a:gdLst/>
            <a:ahLst/>
            <a:cxnLst/>
            <a:rect l="l" t="t" r="r" b="b"/>
            <a:pathLst>
              <a:path w="1274319" h="584776">
                <a:moveTo>
                  <a:pt x="0" y="0"/>
                </a:moveTo>
                <a:lnTo>
                  <a:pt x="1274319" y="0"/>
                </a:lnTo>
                <a:lnTo>
                  <a:pt x="1274319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653883" y="1858259"/>
            <a:ext cx="107378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m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od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l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270120" y="4635400"/>
            <a:ext cx="1274320" cy="584776"/>
          </a:xfrm>
          <a:custGeom>
            <a:avLst/>
            <a:gdLst/>
            <a:ahLst/>
            <a:cxnLst/>
            <a:rect l="l" t="t" r="r" b="b"/>
            <a:pathLst>
              <a:path w="1274320" h="584776">
                <a:moveTo>
                  <a:pt x="0" y="0"/>
                </a:moveTo>
                <a:lnTo>
                  <a:pt x="1274320" y="0"/>
                </a:lnTo>
                <a:lnTo>
                  <a:pt x="1274320" y="584776"/>
                </a:lnTo>
                <a:lnTo>
                  <a:pt x="0" y="584776"/>
                </a:lnTo>
                <a:lnTo>
                  <a:pt x="0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348861" y="4681120"/>
            <a:ext cx="107378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m</a:t>
            </a:r>
            <a:r>
              <a:rPr sz="3200" dirty="0">
                <a:solidFill>
                  <a:srgbClr val="F2F2F2"/>
                </a:solidFill>
                <a:latin typeface="Calibri"/>
                <a:cs typeface="Calibri"/>
              </a:rPr>
              <a:t>od</a:t>
            </a:r>
            <a:r>
              <a:rPr sz="3200" spc="-5" dirty="0">
                <a:solidFill>
                  <a:srgbClr val="F2F2F2"/>
                </a:solidFill>
                <a:latin typeface="Calibri"/>
                <a:cs typeface="Calibri"/>
              </a:rPr>
              <a:t>el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958964" y="4253080"/>
            <a:ext cx="2305050" cy="14535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3800"/>
              </a:lnSpc>
            </a:pP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Predi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t apple,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banana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p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ach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325388" y="4842164"/>
            <a:ext cx="897774" cy="2951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370525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61848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18712" y="4842164"/>
            <a:ext cx="901930" cy="2951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066206" y="4969381"/>
            <a:ext cx="682026" cy="0"/>
          </a:xfrm>
          <a:custGeom>
            <a:avLst/>
            <a:gdLst/>
            <a:ahLst/>
            <a:cxnLst/>
            <a:rect l="l" t="t" r="r" b="b"/>
            <a:pathLst>
              <a:path w="682026">
                <a:moveTo>
                  <a:pt x="0" y="0"/>
                </a:moveTo>
                <a:lnTo>
                  <a:pt x="682026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657529" y="4910427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7" y="2045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5" y="117908"/>
                </a:lnTo>
                <a:lnTo>
                  <a:pt x="115909" y="58954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1778509" y="4409862"/>
            <a:ext cx="263398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r, shape, </a:t>
            </a:r>
            <a:r>
              <a:rPr sz="2400" spc="-25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eigh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,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778510" y="4762902"/>
            <a:ext cx="2559685" cy="7556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100699"/>
              </a:lnSpc>
            </a:pP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2400" spc="-25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eetness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, s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rn</a:t>
            </a: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ess (</a:t>
            </a:r>
            <a:r>
              <a:rPr sz="2400" spc="-25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ith</a:t>
            </a:r>
            <a:r>
              <a:rPr sz="24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F79646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F79646"/>
                </a:solidFill>
                <a:latin typeface="Calibri"/>
                <a:cs typeface="Calibri"/>
              </a:rPr>
              <a:t>t fruit typ</a:t>
            </a:r>
            <a:r>
              <a:rPr sz="2400" spc="-15" dirty="0">
                <a:solidFill>
                  <a:srgbClr val="F79646"/>
                </a:solidFill>
                <a:latin typeface="Calibri"/>
                <a:cs typeface="Calibri"/>
              </a:rPr>
              <a:t>e)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586105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w p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eed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gul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r </a:t>
            </a:r>
            <a:r>
              <a:rPr lang="en-CA" sz="3200" spc="-25" dirty="0">
                <a:solidFill>
                  <a:srgbClr val="7F7F7F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an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254060" y="434334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254060" y="434334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28838" y="244162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28838" y="244162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892895" y="5141205"/>
            <a:ext cx="440072" cy="455372"/>
          </a:xfrm>
          <a:custGeom>
            <a:avLst/>
            <a:gdLst/>
            <a:ahLst/>
            <a:cxnLst/>
            <a:rect l="l" t="t" r="r" b="b"/>
            <a:pathLst>
              <a:path w="440072" h="455372">
                <a:moveTo>
                  <a:pt x="0" y="0"/>
                </a:moveTo>
                <a:lnTo>
                  <a:pt x="440072" y="0"/>
                </a:lnTo>
                <a:lnTo>
                  <a:pt x="440072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892896" y="514120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038182" y="260916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038182" y="260916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D665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6" y="292943"/>
            <a:ext cx="5861050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3200" spc="-25" dirty="0">
                <a:solidFill>
                  <a:srgbClr val="F79646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F79646"/>
                </a:solidFill>
                <a:latin typeface="Calibri"/>
                <a:cs typeface="Calibri"/>
              </a:rPr>
              <a:t>means++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w p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ceed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egul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ar </a:t>
            </a:r>
            <a:r>
              <a:rPr lang="en-CA" sz="3200" spc="-25" dirty="0">
                <a:solidFill>
                  <a:srgbClr val="7F7F7F"/>
                </a:solidFill>
                <a:latin typeface="Calibri"/>
                <a:cs typeface="Calibri"/>
              </a:rPr>
              <a:t>K-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means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722717" y="1770612"/>
            <a:ext cx="290945" cy="4272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67901" y="1923701"/>
            <a:ext cx="0" cy="4054669"/>
          </a:xfrm>
          <a:custGeom>
            <a:avLst/>
            <a:gdLst/>
            <a:ahLst/>
            <a:cxnLst/>
            <a:rect l="l" t="t" r="r" b="b"/>
            <a:pathLst>
              <a:path h="4054669">
                <a:moveTo>
                  <a:pt x="0" y="4054669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08947" y="1898497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7" y="108840"/>
                </a:lnTo>
                <a:lnTo>
                  <a:pt x="14164" y="115909"/>
                </a:lnTo>
                <a:lnTo>
                  <a:pt x="21940" y="113861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1"/>
                </a:lnTo>
                <a:lnTo>
                  <a:pt x="103745" y="115909"/>
                </a:lnTo>
                <a:lnTo>
                  <a:pt x="115862" y="108840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22468" y="5852160"/>
            <a:ext cx="6521334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67901" y="5978371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080562" y="59194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6"/>
                </a:lnTo>
                <a:lnTo>
                  <a:pt x="0" y="14163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4"/>
                </a:lnTo>
                <a:lnTo>
                  <a:pt x="7067" y="115861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2486" y="519546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2469" y="519546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83384" y="2517622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483366" y="25176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084130" y="2135894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84112" y="2135894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72047" y="172336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672029" y="1723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396020" y="3412434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396003" y="34124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404859" y="502178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404842" y="502178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50980" y="3494135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50963" y="349413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38390" y="5487441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5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4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6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38373" y="54874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75281" y="457128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75264" y="457128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037481" y="2045685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037463" y="20456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8077340" y="196221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5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077323" y="196221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877115" y="2754166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7097" y="275416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856126" y="3704924"/>
            <a:ext cx="947419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220142" y="412112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220124" y="412112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923764" y="552154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4"/>
                </a:lnTo>
                <a:lnTo>
                  <a:pt x="773" y="190754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923747" y="552154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65314" y="46126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65297" y="4612608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654550" y="4050238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654533" y="405023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72120" y="331209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272103" y="331209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737138" y="492193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737121" y="492193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8556383" y="2219366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5"/>
                </a:lnTo>
                <a:lnTo>
                  <a:pt x="27746" y="270291"/>
                </a:lnTo>
                <a:lnTo>
                  <a:pt x="53857" y="301804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6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8556366" y="221936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4130" y="258048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084112" y="25804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3"/>
                </a:lnTo>
                <a:lnTo>
                  <a:pt x="75252" y="318820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909187" y="3402195"/>
            <a:ext cx="338622" cy="347313"/>
          </a:xfrm>
          <a:custGeom>
            <a:avLst/>
            <a:gdLst/>
            <a:ahLst/>
            <a:cxnLst/>
            <a:rect l="l" t="t" r="r" b="b"/>
            <a:pathLst>
              <a:path w="338622" h="347313">
                <a:moveTo>
                  <a:pt x="170807" y="0"/>
                </a:moveTo>
                <a:lnTo>
                  <a:pt x="127857" y="5475"/>
                </a:lnTo>
                <a:lnTo>
                  <a:pt x="89021" y="20994"/>
                </a:lnTo>
                <a:lnTo>
                  <a:pt x="55601" y="45190"/>
                </a:lnTo>
                <a:lnTo>
                  <a:pt x="28896" y="76694"/>
                </a:lnTo>
                <a:lnTo>
                  <a:pt x="10205" y="114139"/>
                </a:lnTo>
                <a:lnTo>
                  <a:pt x="830" y="156156"/>
                </a:lnTo>
                <a:lnTo>
                  <a:pt x="0" y="170941"/>
                </a:lnTo>
                <a:lnTo>
                  <a:pt x="602" y="186133"/>
                </a:lnTo>
                <a:lnTo>
                  <a:pt x="9283" y="229205"/>
                </a:lnTo>
                <a:lnTo>
                  <a:pt x="27250" y="267513"/>
                </a:lnTo>
                <a:lnTo>
                  <a:pt x="53185" y="299768"/>
                </a:lnTo>
                <a:lnTo>
                  <a:pt x="85768" y="324680"/>
                </a:lnTo>
                <a:lnTo>
                  <a:pt x="123680" y="340958"/>
                </a:lnTo>
                <a:lnTo>
                  <a:pt x="165602" y="347313"/>
                </a:lnTo>
                <a:lnTo>
                  <a:pt x="180533" y="346702"/>
                </a:lnTo>
                <a:lnTo>
                  <a:pt x="222801" y="337853"/>
                </a:lnTo>
                <a:lnTo>
                  <a:pt x="260334" y="319525"/>
                </a:lnTo>
                <a:lnTo>
                  <a:pt x="291906" y="293060"/>
                </a:lnTo>
                <a:lnTo>
                  <a:pt x="316293" y="259801"/>
                </a:lnTo>
                <a:lnTo>
                  <a:pt x="332274" y="221089"/>
                </a:lnTo>
                <a:lnTo>
                  <a:pt x="338622" y="178266"/>
                </a:lnTo>
                <a:lnTo>
                  <a:pt x="338568" y="170941"/>
                </a:lnTo>
                <a:lnTo>
                  <a:pt x="333294" y="130052"/>
                </a:lnTo>
                <a:lnTo>
                  <a:pt x="318037" y="90503"/>
                </a:lnTo>
                <a:lnTo>
                  <a:pt x="294259" y="56414"/>
                </a:lnTo>
                <a:lnTo>
                  <a:pt x="263312" y="29170"/>
                </a:lnTo>
                <a:lnTo>
                  <a:pt x="226545" y="10155"/>
                </a:lnTo>
                <a:lnTo>
                  <a:pt x="185311" y="756"/>
                </a:lnTo>
                <a:lnTo>
                  <a:pt x="170807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909188" y="3402194"/>
            <a:ext cx="338681" cy="347314"/>
          </a:xfrm>
          <a:custGeom>
            <a:avLst/>
            <a:gdLst/>
            <a:ahLst/>
            <a:cxnLst/>
            <a:rect l="l" t="t" r="r" b="b"/>
            <a:pathLst>
              <a:path w="338681" h="347314">
                <a:moveTo>
                  <a:pt x="338681" y="173674"/>
                </a:moveTo>
                <a:lnTo>
                  <a:pt x="333295" y="130052"/>
                </a:lnTo>
                <a:lnTo>
                  <a:pt x="318037" y="90504"/>
                </a:lnTo>
                <a:lnTo>
                  <a:pt x="294259" y="56415"/>
                </a:lnTo>
                <a:lnTo>
                  <a:pt x="263312" y="29170"/>
                </a:lnTo>
                <a:lnTo>
                  <a:pt x="226546" y="10156"/>
                </a:lnTo>
                <a:lnTo>
                  <a:pt x="185312" y="756"/>
                </a:lnTo>
                <a:lnTo>
                  <a:pt x="170808" y="0"/>
                </a:lnTo>
                <a:lnTo>
                  <a:pt x="156114" y="624"/>
                </a:lnTo>
                <a:lnTo>
                  <a:pt x="114390" y="9599"/>
                </a:lnTo>
                <a:lnTo>
                  <a:pt x="77215" y="28163"/>
                </a:lnTo>
                <a:lnTo>
                  <a:pt x="45889" y="54947"/>
                </a:lnTo>
                <a:lnTo>
                  <a:pt x="21711" y="88583"/>
                </a:lnTo>
                <a:lnTo>
                  <a:pt x="5981" y="127703"/>
                </a:lnTo>
                <a:lnTo>
                  <a:pt x="0" y="170940"/>
                </a:lnTo>
                <a:lnTo>
                  <a:pt x="602" y="186133"/>
                </a:lnTo>
                <a:lnTo>
                  <a:pt x="9283" y="229204"/>
                </a:lnTo>
                <a:lnTo>
                  <a:pt x="27250" y="267512"/>
                </a:lnTo>
                <a:lnTo>
                  <a:pt x="53184" y="299768"/>
                </a:lnTo>
                <a:lnTo>
                  <a:pt x="85767" y="324680"/>
                </a:lnTo>
                <a:lnTo>
                  <a:pt x="123679" y="340958"/>
                </a:lnTo>
                <a:lnTo>
                  <a:pt x="165601" y="347314"/>
                </a:lnTo>
                <a:lnTo>
                  <a:pt x="180532" y="346702"/>
                </a:lnTo>
                <a:lnTo>
                  <a:pt x="222801" y="337853"/>
                </a:lnTo>
                <a:lnTo>
                  <a:pt x="260333" y="319526"/>
                </a:lnTo>
                <a:lnTo>
                  <a:pt x="291905" y="293061"/>
                </a:lnTo>
                <a:lnTo>
                  <a:pt x="316293" y="259802"/>
                </a:lnTo>
                <a:lnTo>
                  <a:pt x="332274" y="221090"/>
                </a:lnTo>
                <a:lnTo>
                  <a:pt x="338623" y="178267"/>
                </a:lnTo>
                <a:lnTo>
                  <a:pt x="338681" y="173674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62372" y="2483256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8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562355" y="248325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716749" y="1593527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716732" y="1593526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7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725591" y="31702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4" y="270289"/>
                </a:lnTo>
                <a:lnTo>
                  <a:pt x="53856" y="301803"/>
                </a:lnTo>
                <a:lnTo>
                  <a:pt x="86999" y="325976"/>
                </a:lnTo>
                <a:lnTo>
                  <a:pt x="126136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725573" y="3170222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02006" y="532890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1" y="325976"/>
                </a:lnTo>
                <a:lnTo>
                  <a:pt x="126139" y="341430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01989" y="53289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105890" y="4521865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105873" y="4521865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75569" y="5502591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0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775553" y="5502590"/>
            <a:ext cx="320723" cy="346786"/>
          </a:xfrm>
          <a:custGeom>
            <a:avLst/>
            <a:gdLst/>
            <a:ahLst/>
            <a:cxnLst/>
            <a:rect l="l" t="t" r="r" b="b"/>
            <a:pathLst>
              <a:path w="320723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1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3" y="171933"/>
                </a:lnTo>
                <a:lnTo>
                  <a:pt x="320117" y="187383"/>
                </a:lnTo>
                <a:lnTo>
                  <a:pt x="311410" y="231178"/>
                </a:lnTo>
                <a:lnTo>
                  <a:pt x="293434" y="270018"/>
                </a:lnTo>
                <a:lnTo>
                  <a:pt x="267552" y="302464"/>
                </a:lnTo>
                <a:lnTo>
                  <a:pt x="235126" y="327078"/>
                </a:lnTo>
                <a:lnTo>
                  <a:pt x="197521" y="342420"/>
                </a:lnTo>
                <a:lnTo>
                  <a:pt x="170246" y="346786"/>
                </a:lnTo>
                <a:lnTo>
                  <a:pt x="155062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C4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52687" y="3517583"/>
            <a:ext cx="320708" cy="346786"/>
          </a:xfrm>
          <a:custGeom>
            <a:avLst/>
            <a:gdLst/>
            <a:ahLst/>
            <a:cxnLst/>
            <a:rect l="l" t="t" r="r" b="b"/>
            <a:pathLst>
              <a:path w="320708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5"/>
                </a:lnTo>
                <a:lnTo>
                  <a:pt x="773" y="190755"/>
                </a:lnTo>
                <a:lnTo>
                  <a:pt x="9705" y="232816"/>
                </a:lnTo>
                <a:lnTo>
                  <a:pt x="27746" y="270292"/>
                </a:lnTo>
                <a:lnTo>
                  <a:pt x="53857" y="301805"/>
                </a:lnTo>
                <a:lnTo>
                  <a:pt x="87001" y="325977"/>
                </a:lnTo>
                <a:lnTo>
                  <a:pt x="126139" y="341430"/>
                </a:lnTo>
                <a:lnTo>
                  <a:pt x="170232" y="346786"/>
                </a:lnTo>
                <a:lnTo>
                  <a:pt x="184056" y="345225"/>
                </a:lnTo>
                <a:lnTo>
                  <a:pt x="223085" y="333293"/>
                </a:lnTo>
                <a:lnTo>
                  <a:pt x="257388" y="311610"/>
                </a:lnTo>
                <a:lnTo>
                  <a:pt x="285662" y="281527"/>
                </a:lnTo>
                <a:lnTo>
                  <a:pt x="306366" y="244746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052670" y="351758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776862" y="52067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776846" y="5206758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73419" y="40515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73401" y="405155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5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945525" y="2964731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945508" y="296473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7" y="337332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37704" y="2691304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37687" y="2691303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7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3"/>
                </a:lnTo>
                <a:lnTo>
                  <a:pt x="75252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42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254060" y="434334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254060" y="434334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28838" y="2441624"/>
            <a:ext cx="440071" cy="455373"/>
          </a:xfrm>
          <a:custGeom>
            <a:avLst/>
            <a:gdLst/>
            <a:ahLst/>
            <a:cxnLst/>
            <a:rect l="l" t="t" r="r" b="b"/>
            <a:pathLst>
              <a:path w="440071" h="455373">
                <a:moveTo>
                  <a:pt x="0" y="0"/>
                </a:moveTo>
                <a:lnTo>
                  <a:pt x="440071" y="0"/>
                </a:lnTo>
                <a:lnTo>
                  <a:pt x="440071" y="455373"/>
                </a:lnTo>
                <a:lnTo>
                  <a:pt x="0" y="455373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28838" y="2441623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59BAD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892895" y="5141205"/>
            <a:ext cx="440072" cy="455372"/>
          </a:xfrm>
          <a:custGeom>
            <a:avLst/>
            <a:gdLst/>
            <a:ahLst/>
            <a:cxnLst/>
            <a:rect l="l" t="t" r="r" b="b"/>
            <a:pathLst>
              <a:path w="440072" h="455372">
                <a:moveTo>
                  <a:pt x="0" y="0"/>
                </a:moveTo>
                <a:lnTo>
                  <a:pt x="440072" y="0"/>
                </a:lnTo>
                <a:lnTo>
                  <a:pt x="440072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892896" y="514120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038182" y="260916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038182" y="2609165"/>
            <a:ext cx="440071" cy="455372"/>
          </a:xfrm>
          <a:custGeom>
            <a:avLst/>
            <a:gdLst/>
            <a:ahLst/>
            <a:cxnLst/>
            <a:rect l="l" t="t" r="r" b="b"/>
            <a:pathLst>
              <a:path w="440071" h="455372">
                <a:moveTo>
                  <a:pt x="0" y="0"/>
                </a:moveTo>
                <a:lnTo>
                  <a:pt x="440071" y="0"/>
                </a:lnTo>
                <a:lnTo>
                  <a:pt x="440071" y="455372"/>
                </a:lnTo>
                <a:lnTo>
                  <a:pt x="0" y="455372"/>
                </a:lnTo>
                <a:lnTo>
                  <a:pt x="0" y="0"/>
                </a:lnTo>
                <a:close/>
              </a:path>
            </a:pathLst>
          </a:custGeom>
          <a:ln w="47624">
            <a:solidFill>
              <a:srgbClr val="CD665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375266" y="2169623"/>
            <a:ext cx="5320145" cy="32419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445923" y="2194561"/>
            <a:ext cx="5158046" cy="32170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423992" y="2197501"/>
            <a:ext cx="5221264" cy="313932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423993" y="2197502"/>
            <a:ext cx="5221263" cy="3139319"/>
          </a:xfrm>
          <a:custGeom>
            <a:avLst/>
            <a:gdLst/>
            <a:ahLst/>
            <a:cxnLst/>
            <a:rect l="l" t="t" r="r" b="b"/>
            <a:pathLst>
              <a:path w="5221263" h="3139319">
                <a:moveTo>
                  <a:pt x="0" y="0"/>
                </a:moveTo>
                <a:lnTo>
                  <a:pt x="5221263" y="0"/>
                </a:lnTo>
                <a:lnTo>
                  <a:pt x="5221263" y="3139319"/>
                </a:lnTo>
                <a:lnTo>
                  <a:pt x="0" y="3139319"/>
                </a:lnTo>
                <a:lnTo>
                  <a:pt x="0" y="0"/>
                </a:lnTo>
                <a:close/>
              </a:path>
            </a:pathLst>
          </a:custGeom>
          <a:ln w="9524">
            <a:solidFill>
              <a:srgbClr val="9076B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>
            <a:off x="4502733" y="2243222"/>
            <a:ext cx="3910329" cy="10356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6600" spc="-45" dirty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6600" spc="-30" dirty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6600" spc="-35" dirty="0">
                <a:solidFill>
                  <a:srgbClr val="FFFFFF"/>
                </a:solidFill>
                <a:latin typeface="Calibri"/>
                <a:cs typeface="Calibri"/>
              </a:rPr>
              <a:t>eat. H</a:t>
            </a:r>
            <a:r>
              <a:rPr sz="6600" spc="-5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6600" spc="-50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endParaRPr sz="6600" dirty="0">
              <a:latin typeface="Calibri"/>
              <a:cs typeface="Calibri"/>
            </a:endParaRPr>
          </a:p>
        </p:txBody>
      </p:sp>
      <p:sp>
        <p:nvSpPr>
          <p:cNvPr id="89" name="object 89"/>
          <p:cNvSpPr txBox="1">
            <a:spLocks noGrp="1"/>
          </p:cNvSpPr>
          <p:nvPr>
            <p:ph type="ftr" sz="quarter" idx="4294967295"/>
          </p:nvPr>
        </p:nvSpPr>
        <p:spPr>
          <a:xfrm>
            <a:off x="11695113" y="6062663"/>
            <a:ext cx="496887" cy="3841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4502732" y="3246522"/>
            <a:ext cx="3655060" cy="10356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6600" spc="-55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6600" dirty="0">
                <a:solidFill>
                  <a:srgbClr val="FFFFFF"/>
                </a:solidFill>
                <a:latin typeface="Calibri"/>
                <a:cs typeface="Calibri"/>
              </a:rPr>
              <a:t>ill </a:t>
            </a:r>
            <a:r>
              <a:rPr sz="6600" spc="-20" dirty="0">
                <a:solidFill>
                  <a:srgbClr val="FFFFFF"/>
                </a:solidFill>
                <a:latin typeface="Calibri"/>
                <a:cs typeface="Calibri"/>
              </a:rPr>
              <a:t>I </a:t>
            </a:r>
            <a:r>
              <a:rPr sz="6600" spc="-30" dirty="0">
                <a:solidFill>
                  <a:srgbClr val="FFFFFF"/>
                </a:solidFill>
                <a:latin typeface="Calibri"/>
                <a:cs typeface="Calibri"/>
              </a:rPr>
              <a:t>kn</a:t>
            </a:r>
            <a:r>
              <a:rPr sz="6600" spc="-5" dirty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6600" spc="-50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endParaRPr sz="6600">
              <a:latin typeface="Calibri"/>
              <a:cs typeface="Calibri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4502732" y="4249822"/>
            <a:ext cx="5048250" cy="10356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6600" spc="-55" dirty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6600" dirty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6600" spc="-30" dirty="0">
                <a:solidFill>
                  <a:srgbClr val="FFFFFF"/>
                </a:solidFill>
                <a:latin typeface="Calibri"/>
                <a:cs typeface="Calibri"/>
              </a:rPr>
              <a:t>at </a:t>
            </a:r>
            <a:r>
              <a:rPr sz="6600" spc="-35" dirty="0">
                <a:solidFill>
                  <a:srgbClr val="FFFFFF"/>
                </a:solidFill>
                <a:latin typeface="Calibri"/>
                <a:cs typeface="Calibri"/>
              </a:rPr>
              <a:t>K to use?</a:t>
            </a:r>
            <a:endParaRPr sz="6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292942"/>
            <a:ext cx="7911465" cy="604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07060"/>
            <a:r>
              <a:rPr lang="en-CA" sz="3200" dirty="0">
                <a:solidFill>
                  <a:srgbClr val="4BACC6"/>
                </a:solidFill>
                <a:latin typeface="Calibri"/>
                <a:cs typeface="Calibri"/>
              </a:rPr>
              <a:t>Sometimes</a:t>
            </a:r>
            <a:r>
              <a:rPr sz="3200" spc="-25" dirty="0">
                <a:solidFill>
                  <a:srgbClr val="4BACC6"/>
                </a:solidFill>
                <a:latin typeface="Calibri"/>
                <a:cs typeface="Calibri"/>
              </a:rPr>
              <a:t> th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e </a:t>
            </a:r>
            <a:r>
              <a:rPr lang="en-CA" sz="3200" spc="-20" dirty="0">
                <a:solidFill>
                  <a:srgbClr val="4BACC6"/>
                </a:solidFill>
                <a:latin typeface="Calibri"/>
                <a:cs typeface="Calibri"/>
              </a:rPr>
              <a:t>question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 has a 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K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12700">
              <a:lnSpc>
                <a:spcPts val="3800"/>
              </a:lnSpc>
            </a:pP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h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ave 4 CPU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es.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ed to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r si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mi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r j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bs so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an 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nd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ach g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p to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CPU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700"/>
              </a:lnSpc>
              <a:spcBef>
                <a:spcPts val="47"/>
              </a:spcBef>
            </a:pPr>
            <a:endParaRPr sz="7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</p:txBody>
      </p:sp>
    </p:spTree>
  </p:cSld>
  <p:clrMapOvr>
    <a:masterClrMapping/>
  </p:clrMapOvr>
  <p:transition spd="med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292942"/>
            <a:ext cx="7911465" cy="604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07060"/>
            <a:r>
              <a:rPr lang="en-CA" sz="3200" dirty="0">
                <a:solidFill>
                  <a:srgbClr val="4BACC6"/>
                </a:solidFill>
                <a:latin typeface="Calibri"/>
                <a:cs typeface="Calibri"/>
              </a:rPr>
              <a:t>Sometimes</a:t>
            </a:r>
            <a:r>
              <a:rPr sz="3200" spc="-25" dirty="0">
                <a:solidFill>
                  <a:srgbClr val="4BACC6"/>
                </a:solidFill>
                <a:latin typeface="Calibri"/>
                <a:cs typeface="Calibri"/>
              </a:rPr>
              <a:t> th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e </a:t>
            </a:r>
            <a:r>
              <a:rPr lang="en-CA" sz="3200" spc="-20" dirty="0">
                <a:solidFill>
                  <a:srgbClr val="4BACC6"/>
                </a:solidFill>
                <a:latin typeface="Calibri"/>
                <a:cs typeface="Calibri"/>
              </a:rPr>
              <a:t>question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 has a 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K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12700">
              <a:lnSpc>
                <a:spcPts val="3800"/>
              </a:lnSpc>
            </a:pP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h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ave 4 CPU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es.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ed to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r si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mi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r j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bs so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an 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nd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ach g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p to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CPU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700"/>
              </a:lnSpc>
              <a:spcBef>
                <a:spcPts val="47"/>
              </a:spcBef>
            </a:pPr>
            <a:endParaRPr sz="7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27305">
              <a:lnSpc>
                <a:spcPct val="99800"/>
              </a:lnSpc>
            </a:pP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to 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make jeans th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at can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 diﬀ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b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 sha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s. </a:t>
            </a: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to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k a l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f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asu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rements.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 up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ith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0 diﬀ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sizes to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pl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  <a:spcBef>
                <a:spcPts val="20"/>
              </a:spcBef>
            </a:pPr>
            <a:endParaRPr sz="1000" dirty="0"/>
          </a:p>
        </p:txBody>
      </p:sp>
    </p:spTree>
    <p:extLst>
      <p:ext uri="{BB962C8B-B14F-4D97-AF65-F5344CB8AC3E}">
        <p14:creationId xmlns:p14="http://schemas.microsoft.com/office/powerpoint/2010/main" val="1400228147"/>
      </p:ext>
    </p:extLst>
  </p:cSld>
  <p:clrMapOvr>
    <a:masterClrMapping/>
  </p:clrMapOvr>
  <p:transition spd="med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292942"/>
            <a:ext cx="7911465" cy="604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07060"/>
            <a:r>
              <a:rPr lang="en-CA" sz="3200" dirty="0">
                <a:solidFill>
                  <a:srgbClr val="4BACC6"/>
                </a:solidFill>
                <a:latin typeface="Calibri"/>
                <a:cs typeface="Calibri"/>
              </a:rPr>
              <a:t>Sometimes</a:t>
            </a:r>
            <a:r>
              <a:rPr sz="3200" spc="-25" dirty="0">
                <a:solidFill>
                  <a:srgbClr val="4BACC6"/>
                </a:solidFill>
                <a:latin typeface="Calibri"/>
                <a:cs typeface="Calibri"/>
              </a:rPr>
              <a:t> th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e </a:t>
            </a:r>
            <a:r>
              <a:rPr lang="en-CA" sz="3200" spc="-20" dirty="0">
                <a:solidFill>
                  <a:srgbClr val="4BACC6"/>
                </a:solidFill>
                <a:latin typeface="Calibri"/>
                <a:cs typeface="Calibri"/>
              </a:rPr>
              <a:t>question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 has a 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K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12700">
              <a:lnSpc>
                <a:spcPts val="3800"/>
              </a:lnSpc>
            </a:pP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h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ave 4 CPU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es.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ed to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r si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mi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r j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bs so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an 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nd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ach g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p to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CPU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700"/>
              </a:lnSpc>
              <a:spcBef>
                <a:spcPts val="47"/>
              </a:spcBef>
            </a:pPr>
            <a:endParaRPr sz="7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27305">
              <a:lnSpc>
                <a:spcPct val="99800"/>
              </a:lnSpc>
            </a:pP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to 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make jeans th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at can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 diﬀ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b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 sha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s. </a:t>
            </a: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to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k a l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f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asu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rements.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 up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ith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0 diﬀ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sizes to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pl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  <a:spcBef>
                <a:spcPts val="20"/>
              </a:spcBef>
            </a:pPr>
            <a:endParaRPr sz="1000" dirty="0"/>
          </a:p>
          <a:p>
            <a:pPr marL="12700" marR="330835">
              <a:lnSpc>
                <a:spcPts val="3800"/>
              </a:lnSpc>
            </a:pPr>
            <a:r>
              <a:rPr sz="3200" spc="-10" dirty="0">
                <a:solidFill>
                  <a:srgbClr val="C0504D"/>
                </a:solidFill>
                <a:latin typeface="Calibri"/>
                <a:cs typeface="Calibri"/>
              </a:rPr>
              <a:t>I </a:t>
            </a:r>
            <a:r>
              <a:rPr sz="3200" spc="-30" dirty="0">
                <a:solidFill>
                  <a:srgbClr val="C0504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a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t to build a </a:t>
            </a:r>
            <a:r>
              <a:rPr lang="en-CA" sz="3200" spc="-15" dirty="0">
                <a:solidFill>
                  <a:srgbClr val="C0504D"/>
                </a:solidFill>
                <a:latin typeface="Calibri"/>
                <a:cs typeface="Calibri"/>
              </a:rPr>
              <a:t>navigation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 i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te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f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ace f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C0504D"/>
                </a:solidFill>
                <a:latin typeface="Calibri"/>
                <a:cs typeface="Calibri"/>
              </a:rPr>
              <a:t> b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C0504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i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g </a:t>
            </a:r>
            <a:r>
              <a:rPr lang="en-CA" sz="3200" spc="-15" dirty="0">
                <a:solidFill>
                  <a:srgbClr val="C0504D"/>
                </a:solidFill>
                <a:latin typeface="Calibri"/>
                <a:cs typeface="Calibri"/>
              </a:rPr>
              <a:t>scientific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 pap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. </a:t>
            </a:r>
            <a:r>
              <a:rPr sz="3200" spc="-25" dirty="0">
                <a:solidFill>
                  <a:srgbClr val="C0504D"/>
                </a:solidFill>
                <a:latin typeface="Calibri"/>
                <a:cs typeface="Calibri"/>
              </a:rPr>
              <a:t>My d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si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gn dictates dividing th</a:t>
            </a:r>
            <a:r>
              <a:rPr sz="3200" spc="-25" dirty="0">
                <a:solidFill>
                  <a:srgbClr val="C0504D"/>
                </a:solidFill>
                <a:latin typeface="Calibri"/>
                <a:cs typeface="Calibri"/>
              </a:rPr>
              <a:t>em into 2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0 dis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ciplin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s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20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104927"/>
      </p:ext>
    </p:extLst>
  </p:cSld>
  <p:clrMapOvr>
    <a:masterClrMapping/>
  </p:clrMapOvr>
  <p:transition spd="med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292942"/>
            <a:ext cx="7911465" cy="604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07060"/>
            <a:r>
              <a:rPr lang="en-CA" sz="3200" dirty="0">
                <a:solidFill>
                  <a:srgbClr val="4BACC6"/>
                </a:solidFill>
                <a:latin typeface="Calibri"/>
                <a:cs typeface="Calibri"/>
              </a:rPr>
              <a:t>Sometimes</a:t>
            </a:r>
            <a:r>
              <a:rPr sz="3200" spc="-25" dirty="0">
                <a:solidFill>
                  <a:srgbClr val="4BACC6"/>
                </a:solidFill>
                <a:latin typeface="Calibri"/>
                <a:cs typeface="Calibri"/>
              </a:rPr>
              <a:t> th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e </a:t>
            </a:r>
            <a:r>
              <a:rPr lang="en-CA" sz="3200" spc="-20" dirty="0">
                <a:solidFill>
                  <a:srgbClr val="4BACC6"/>
                </a:solidFill>
                <a:latin typeface="Calibri"/>
                <a:cs typeface="Calibri"/>
              </a:rPr>
              <a:t>question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 has a 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K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5"/>
              </a:spcBef>
            </a:pPr>
            <a:endParaRPr sz="6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12700">
              <a:lnSpc>
                <a:spcPts val="3800"/>
              </a:lnSpc>
            </a:pP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h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ave 4 CPU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es.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ed to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r si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mi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r j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bs so 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I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an s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nd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ach g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p to 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n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 CPU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700"/>
              </a:lnSpc>
              <a:spcBef>
                <a:spcPts val="47"/>
              </a:spcBef>
            </a:pPr>
            <a:endParaRPr sz="7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 marR="27305">
              <a:lnSpc>
                <a:spcPct val="99800"/>
              </a:lnSpc>
            </a:pP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to 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make jeans th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at can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</a:t>
            </a:r>
            <a:r>
              <a:rPr sz="3200" spc="-10" dirty="0">
                <a:solidFill>
                  <a:srgbClr val="9BBB59"/>
                </a:solidFill>
                <a:latin typeface="Calibri"/>
                <a:cs typeface="Calibri"/>
              </a:rPr>
              <a:t> diﬀ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b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d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y sha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s. </a:t>
            </a:r>
            <a:r>
              <a:rPr sz="3200" spc="-35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to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k a l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f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asu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rements.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me up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ith 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1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0 diﬀere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sizes to c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ver </a:t>
            </a:r>
            <a:r>
              <a:rPr sz="3200" spc="-30" dirty="0">
                <a:solidFill>
                  <a:srgbClr val="9BBB59"/>
                </a:solidFill>
                <a:latin typeface="Calibri"/>
                <a:cs typeface="Calibri"/>
              </a:rPr>
              <a:t>m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t p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pl</a:t>
            </a: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e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  <a:spcBef>
                <a:spcPts val="20"/>
              </a:spcBef>
            </a:pPr>
            <a:endParaRPr sz="1000" dirty="0"/>
          </a:p>
          <a:p>
            <a:pPr marL="12700" marR="330835">
              <a:lnSpc>
                <a:spcPts val="3800"/>
              </a:lnSpc>
            </a:pPr>
            <a:r>
              <a:rPr sz="3200" spc="-10" dirty="0">
                <a:solidFill>
                  <a:srgbClr val="C0504D"/>
                </a:solidFill>
                <a:latin typeface="Calibri"/>
                <a:cs typeface="Calibri"/>
              </a:rPr>
              <a:t>I </a:t>
            </a:r>
            <a:r>
              <a:rPr sz="3200" spc="-30" dirty="0">
                <a:solidFill>
                  <a:srgbClr val="C0504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a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t to build a </a:t>
            </a:r>
            <a:r>
              <a:rPr lang="en-CA" sz="3200" spc="-15" dirty="0">
                <a:solidFill>
                  <a:srgbClr val="C0504D"/>
                </a:solidFill>
                <a:latin typeface="Calibri"/>
                <a:cs typeface="Calibri"/>
              </a:rPr>
              <a:t>navigation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 i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te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f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ace f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spc="-10" dirty="0">
                <a:solidFill>
                  <a:srgbClr val="C0504D"/>
                </a:solidFill>
                <a:latin typeface="Calibri"/>
                <a:cs typeface="Calibri"/>
              </a:rPr>
              <a:t> b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C0504D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i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g </a:t>
            </a:r>
            <a:r>
              <a:rPr lang="en-CA" sz="3200" spc="-15" dirty="0">
                <a:solidFill>
                  <a:srgbClr val="C0504D"/>
                </a:solidFill>
                <a:latin typeface="Calibri"/>
                <a:cs typeface="Calibri"/>
              </a:rPr>
              <a:t>scientific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 pap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. </a:t>
            </a:r>
            <a:r>
              <a:rPr sz="3200" spc="-25" dirty="0">
                <a:solidFill>
                  <a:srgbClr val="C0504D"/>
                </a:solidFill>
                <a:latin typeface="Calibri"/>
                <a:cs typeface="Calibri"/>
              </a:rPr>
              <a:t>My d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si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gn dictates dividing th</a:t>
            </a:r>
            <a:r>
              <a:rPr sz="3200" spc="-25" dirty="0">
                <a:solidFill>
                  <a:srgbClr val="C0504D"/>
                </a:solidFill>
                <a:latin typeface="Calibri"/>
                <a:cs typeface="Calibri"/>
              </a:rPr>
              <a:t>em into 2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0 dis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ciplin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s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 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=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20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84"/>
          <p:cNvSpPr/>
          <p:nvPr/>
        </p:nvSpPr>
        <p:spPr>
          <a:xfrm>
            <a:off x="3429000" y="1813680"/>
            <a:ext cx="5221264" cy="313932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86"/>
          <p:cNvSpPr txBox="1"/>
          <p:nvPr/>
        </p:nvSpPr>
        <p:spPr>
          <a:xfrm>
            <a:off x="3507740" y="1859401"/>
            <a:ext cx="5142524" cy="10356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6600" spc="-45" dirty="0">
                <a:solidFill>
                  <a:srgbClr val="FFFFFF"/>
                </a:solidFill>
                <a:latin typeface="Calibri"/>
                <a:cs typeface="Calibri"/>
              </a:rPr>
              <a:t>Yeah, I don’t really have that. :/</a:t>
            </a:r>
            <a:endParaRPr sz="6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5590676"/>
      </p:ext>
    </p:extLst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6858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Ou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r s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: </a:t>
            </a:r>
            <a:r>
              <a:rPr lang="en-CA" sz="3200" spc="-15" dirty="0">
                <a:solidFill>
                  <a:srgbClr val="F79646"/>
                </a:solidFill>
                <a:latin typeface="Calibri"/>
                <a:cs typeface="Calibri"/>
              </a:rPr>
              <a:t>Inertia</a:t>
            </a:r>
            <a:endParaRPr sz="3200" dirty="0">
              <a:latin typeface="Calibri"/>
              <a:cs typeface="Calibri"/>
            </a:endParaRPr>
          </a:p>
          <a:p>
            <a:pPr marL="685800" marR="12700">
              <a:lnSpc>
                <a:spcPts val="3800"/>
              </a:lnSpc>
              <a:spcBef>
                <a:spcPts val="120"/>
              </a:spcBef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within-cluste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 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ns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y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ith h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lang="en-CA" sz="3200" spc="-1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ill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o 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517371" y="1965961"/>
            <a:ext cx="290945" cy="33250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663332" y="2117809"/>
            <a:ext cx="0" cy="3107726"/>
          </a:xfrm>
          <a:custGeom>
            <a:avLst/>
            <a:gdLst/>
            <a:ahLst/>
            <a:cxnLst/>
            <a:rect l="l" t="t" r="r" b="b"/>
            <a:pathLst>
              <a:path h="3107726">
                <a:moveTo>
                  <a:pt x="0" y="3107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04378" y="209260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1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1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617124" y="5099858"/>
            <a:ext cx="7348451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63332" y="5225535"/>
            <a:ext cx="7128068" cy="0"/>
          </a:xfrm>
          <a:custGeom>
            <a:avLst/>
            <a:gdLst/>
            <a:ahLst/>
            <a:cxnLst/>
            <a:rect l="l" t="t" r="r" b="b"/>
            <a:pathLst>
              <a:path w="7128068">
                <a:moveTo>
                  <a:pt x="0" y="0"/>
                </a:moveTo>
                <a:lnTo>
                  <a:pt x="712806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700698" y="5166582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5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3"/>
                </a:lnTo>
                <a:lnTo>
                  <a:pt x="2047" y="95967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8"/>
                </a:lnTo>
                <a:lnTo>
                  <a:pt x="115909" y="58953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651557" y="2952089"/>
            <a:ext cx="83629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949191" y="5309740"/>
            <a:ext cx="475297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tabLst>
                <a:tab pos="511175" algn="l"/>
                <a:tab pos="940435" algn="l"/>
                <a:tab pos="1439545" algn="l"/>
                <a:tab pos="1938020" algn="l"/>
                <a:tab pos="2436495" algn="l"/>
                <a:tab pos="2934970" algn="l"/>
                <a:tab pos="3433445" algn="l"/>
                <a:tab pos="3932554" algn="l"/>
                <a:tab pos="4431030" algn="l"/>
              </a:tabLst>
            </a:pP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1	2	3	4	5	6	7	8	9	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080164" y="3869574"/>
            <a:ext cx="519545" cy="8146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140397" y="3901372"/>
            <a:ext cx="397813" cy="703776"/>
          </a:xfrm>
          <a:custGeom>
            <a:avLst/>
            <a:gdLst/>
            <a:ahLst/>
            <a:cxnLst/>
            <a:rect l="l" t="t" r="r" b="b"/>
            <a:pathLst>
              <a:path w="397813" h="703776">
                <a:moveTo>
                  <a:pt x="0" y="0"/>
                </a:moveTo>
                <a:lnTo>
                  <a:pt x="397813" y="703776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91643" y="4563687"/>
            <a:ext cx="1242752" cy="28263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538210" y="4605149"/>
            <a:ext cx="1147542" cy="152994"/>
          </a:xfrm>
          <a:custGeom>
            <a:avLst/>
            <a:gdLst/>
            <a:ahLst/>
            <a:cxnLst/>
            <a:rect l="l" t="t" r="r" b="b"/>
            <a:pathLst>
              <a:path w="1147542" h="152994">
                <a:moveTo>
                  <a:pt x="0" y="0"/>
                </a:moveTo>
                <a:lnTo>
                  <a:pt x="1147542" y="152994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638801" y="4717472"/>
            <a:ext cx="1026621" cy="2369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685754" y="4758145"/>
            <a:ext cx="933333" cy="107095"/>
          </a:xfrm>
          <a:custGeom>
            <a:avLst/>
            <a:gdLst/>
            <a:ahLst/>
            <a:cxnLst/>
            <a:rect l="l" t="t" r="r" b="b"/>
            <a:pathLst>
              <a:path w="933333" h="107095">
                <a:moveTo>
                  <a:pt x="0" y="0"/>
                </a:moveTo>
                <a:lnTo>
                  <a:pt x="933333" y="107095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578138" y="4825539"/>
            <a:ext cx="1005839" cy="12884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622722" y="4865240"/>
            <a:ext cx="914399" cy="0"/>
          </a:xfrm>
          <a:custGeom>
            <a:avLst/>
            <a:gdLst/>
            <a:ahLst/>
            <a:cxnLst/>
            <a:rect l="l" t="t" r="r" b="b"/>
            <a:pathLst>
              <a:path w="914399">
                <a:moveTo>
                  <a:pt x="0" y="0"/>
                </a:moveTo>
                <a:lnTo>
                  <a:pt x="914399" y="0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099263" y="2098963"/>
            <a:ext cx="340821" cy="89777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161319" y="2126633"/>
            <a:ext cx="214528" cy="795573"/>
          </a:xfrm>
          <a:custGeom>
            <a:avLst/>
            <a:gdLst/>
            <a:ahLst/>
            <a:cxnLst/>
            <a:rect l="l" t="t" r="r" b="b"/>
            <a:pathLst>
              <a:path w="214528" h="795573">
                <a:moveTo>
                  <a:pt x="0" y="0"/>
                </a:moveTo>
                <a:lnTo>
                  <a:pt x="214528" y="795573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315393" y="2872047"/>
            <a:ext cx="885305" cy="11097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375850" y="2906369"/>
            <a:ext cx="764547" cy="995002"/>
          </a:xfrm>
          <a:custGeom>
            <a:avLst/>
            <a:gdLst/>
            <a:ahLst/>
            <a:cxnLst/>
            <a:rect l="l" t="t" r="r" b="b"/>
            <a:pathLst>
              <a:path w="764547" h="995002">
                <a:moveTo>
                  <a:pt x="0" y="0"/>
                </a:moveTo>
                <a:lnTo>
                  <a:pt x="764547" y="995002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416363" y="5665339"/>
            <a:ext cx="18415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25917" y="292943"/>
            <a:ext cx="5614035" cy="1473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Ou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r s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: </a:t>
            </a:r>
            <a:r>
              <a:rPr lang="en-CA" sz="3200" spc="-15" dirty="0">
                <a:solidFill>
                  <a:srgbClr val="F79646"/>
                </a:solidFill>
                <a:latin typeface="Calibri"/>
                <a:cs typeface="Calibri"/>
              </a:rPr>
              <a:t>Inertia</a:t>
            </a:r>
            <a:endParaRPr sz="3200" dirty="0">
              <a:latin typeface="Calibri"/>
              <a:cs typeface="Calibri"/>
            </a:endParaRPr>
          </a:p>
          <a:p>
            <a:pPr marL="12700" marR="12700">
              <a:lnSpc>
                <a:spcPts val="3800"/>
              </a:lnSpc>
              <a:spcBef>
                <a:spcPts val="120"/>
              </a:spcBef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within-cluste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 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ns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y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h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lang="en-CA" sz="3200" spc="-1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ll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o 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517371" y="1965961"/>
            <a:ext cx="290945" cy="33250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663332" y="2117809"/>
            <a:ext cx="0" cy="3107726"/>
          </a:xfrm>
          <a:custGeom>
            <a:avLst/>
            <a:gdLst/>
            <a:ahLst/>
            <a:cxnLst/>
            <a:rect l="l" t="t" r="r" b="b"/>
            <a:pathLst>
              <a:path h="3107726">
                <a:moveTo>
                  <a:pt x="0" y="3107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04378" y="209260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1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1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617124" y="5099858"/>
            <a:ext cx="7348451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63332" y="5225535"/>
            <a:ext cx="7128068" cy="0"/>
          </a:xfrm>
          <a:custGeom>
            <a:avLst/>
            <a:gdLst/>
            <a:ahLst/>
            <a:cxnLst/>
            <a:rect l="l" t="t" r="r" b="b"/>
            <a:pathLst>
              <a:path w="7128068">
                <a:moveTo>
                  <a:pt x="0" y="0"/>
                </a:moveTo>
                <a:lnTo>
                  <a:pt x="712806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700698" y="5166582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5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3"/>
                </a:lnTo>
                <a:lnTo>
                  <a:pt x="2047" y="95967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8"/>
                </a:lnTo>
                <a:lnTo>
                  <a:pt x="115909" y="58953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651557" y="2952089"/>
            <a:ext cx="836294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099263" y="2098963"/>
            <a:ext cx="340821" cy="89777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161319" y="2126633"/>
            <a:ext cx="214528" cy="795573"/>
          </a:xfrm>
          <a:custGeom>
            <a:avLst/>
            <a:gdLst/>
            <a:ahLst/>
            <a:cxnLst/>
            <a:rect l="l" t="t" r="r" b="b"/>
            <a:pathLst>
              <a:path w="214528" h="795573">
                <a:moveTo>
                  <a:pt x="0" y="0"/>
                </a:moveTo>
                <a:lnTo>
                  <a:pt x="214528" y="795573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315393" y="2872047"/>
            <a:ext cx="885305" cy="110974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375850" y="2906369"/>
            <a:ext cx="764547" cy="995002"/>
          </a:xfrm>
          <a:custGeom>
            <a:avLst/>
            <a:gdLst/>
            <a:ahLst/>
            <a:cxnLst/>
            <a:rect l="l" t="t" r="r" b="b"/>
            <a:pathLst>
              <a:path w="764547" h="995002">
                <a:moveTo>
                  <a:pt x="0" y="0"/>
                </a:moveTo>
                <a:lnTo>
                  <a:pt x="764547" y="995002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080164" y="3869574"/>
            <a:ext cx="519545" cy="81464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140397" y="3901372"/>
            <a:ext cx="397813" cy="703776"/>
          </a:xfrm>
          <a:custGeom>
            <a:avLst/>
            <a:gdLst/>
            <a:ahLst/>
            <a:cxnLst/>
            <a:rect l="l" t="t" r="r" b="b"/>
            <a:pathLst>
              <a:path w="397813" h="703776">
                <a:moveTo>
                  <a:pt x="0" y="0"/>
                </a:moveTo>
                <a:lnTo>
                  <a:pt x="397813" y="703776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491643" y="4563687"/>
            <a:ext cx="1242752" cy="28263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538210" y="4605149"/>
            <a:ext cx="1147542" cy="152994"/>
          </a:xfrm>
          <a:custGeom>
            <a:avLst/>
            <a:gdLst/>
            <a:ahLst/>
            <a:cxnLst/>
            <a:rect l="l" t="t" r="r" b="b"/>
            <a:pathLst>
              <a:path w="1147542" h="152994">
                <a:moveTo>
                  <a:pt x="0" y="0"/>
                </a:moveTo>
                <a:lnTo>
                  <a:pt x="1147542" y="152994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638801" y="4717472"/>
            <a:ext cx="1026621" cy="2369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685754" y="4758145"/>
            <a:ext cx="933333" cy="107095"/>
          </a:xfrm>
          <a:custGeom>
            <a:avLst/>
            <a:gdLst/>
            <a:ahLst/>
            <a:cxnLst/>
            <a:rect l="l" t="t" r="r" b="b"/>
            <a:pathLst>
              <a:path w="933333" h="107095">
                <a:moveTo>
                  <a:pt x="0" y="0"/>
                </a:moveTo>
                <a:lnTo>
                  <a:pt x="933333" y="107095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578138" y="4825539"/>
            <a:ext cx="1005839" cy="12884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622722" y="4865240"/>
            <a:ext cx="914399" cy="0"/>
          </a:xfrm>
          <a:custGeom>
            <a:avLst/>
            <a:gdLst/>
            <a:ahLst/>
            <a:cxnLst/>
            <a:rect l="l" t="t" r="r" b="b"/>
            <a:pathLst>
              <a:path w="914399">
                <a:moveTo>
                  <a:pt x="0" y="0"/>
                </a:moveTo>
                <a:lnTo>
                  <a:pt x="914399" y="0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342014" y="5577839"/>
            <a:ext cx="394854" cy="91855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538210" y="5790496"/>
            <a:ext cx="0" cy="635292"/>
          </a:xfrm>
          <a:custGeom>
            <a:avLst/>
            <a:gdLst/>
            <a:ahLst/>
            <a:cxnLst/>
            <a:rect l="l" t="t" r="r" b="b"/>
            <a:pathLst>
              <a:path h="635292">
                <a:moveTo>
                  <a:pt x="0" y="635292"/>
                </a:moveTo>
                <a:lnTo>
                  <a:pt x="0" y="0"/>
                </a:lnTo>
              </a:path>
            </a:pathLst>
          </a:custGeom>
          <a:ln w="380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52601" y="5752688"/>
            <a:ext cx="170870" cy="171040"/>
          </a:xfrm>
          <a:custGeom>
            <a:avLst/>
            <a:gdLst/>
            <a:ahLst/>
            <a:cxnLst/>
            <a:rect l="l" t="t" r="r" b="b"/>
            <a:pathLst>
              <a:path w="170870" h="171040">
                <a:moveTo>
                  <a:pt x="85608" y="0"/>
                </a:moveTo>
                <a:lnTo>
                  <a:pt x="2478" y="142508"/>
                </a:lnTo>
                <a:lnTo>
                  <a:pt x="0" y="154222"/>
                </a:lnTo>
                <a:lnTo>
                  <a:pt x="4820" y="164910"/>
                </a:lnTo>
                <a:lnTo>
                  <a:pt x="9334" y="168562"/>
                </a:lnTo>
                <a:lnTo>
                  <a:pt x="21049" y="171040"/>
                </a:lnTo>
                <a:lnTo>
                  <a:pt x="31736" y="166220"/>
                </a:lnTo>
                <a:lnTo>
                  <a:pt x="35388" y="161706"/>
                </a:lnTo>
                <a:lnTo>
                  <a:pt x="85608" y="75614"/>
                </a:lnTo>
                <a:lnTo>
                  <a:pt x="129717" y="75614"/>
                </a:lnTo>
                <a:lnTo>
                  <a:pt x="85608" y="0"/>
                </a:lnTo>
                <a:close/>
              </a:path>
              <a:path w="170870" h="171040">
                <a:moveTo>
                  <a:pt x="129717" y="75614"/>
                </a:moveTo>
                <a:lnTo>
                  <a:pt x="85608" y="75614"/>
                </a:lnTo>
                <a:lnTo>
                  <a:pt x="135828" y="161706"/>
                </a:lnTo>
                <a:lnTo>
                  <a:pt x="144805" y="169629"/>
                </a:lnTo>
                <a:lnTo>
                  <a:pt x="156480" y="170694"/>
                </a:lnTo>
                <a:lnTo>
                  <a:pt x="161882" y="168562"/>
                </a:lnTo>
                <a:lnTo>
                  <a:pt x="169805" y="159585"/>
                </a:lnTo>
                <a:lnTo>
                  <a:pt x="170870" y="147909"/>
                </a:lnTo>
                <a:lnTo>
                  <a:pt x="168738" y="142508"/>
                </a:lnTo>
                <a:lnTo>
                  <a:pt x="129717" y="75614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337857" y="3329247"/>
            <a:ext cx="394854" cy="114299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536992" y="3352735"/>
            <a:ext cx="0" cy="863098"/>
          </a:xfrm>
          <a:custGeom>
            <a:avLst/>
            <a:gdLst/>
            <a:ahLst/>
            <a:cxnLst/>
            <a:rect l="l" t="t" r="r" b="b"/>
            <a:pathLst>
              <a:path h="863098">
                <a:moveTo>
                  <a:pt x="0" y="0"/>
                </a:moveTo>
                <a:lnTo>
                  <a:pt x="0" y="863098"/>
                </a:lnTo>
              </a:path>
            </a:pathLst>
          </a:custGeom>
          <a:ln w="380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451383" y="4082601"/>
            <a:ext cx="170870" cy="171040"/>
          </a:xfrm>
          <a:custGeom>
            <a:avLst/>
            <a:gdLst/>
            <a:ahLst/>
            <a:cxnLst/>
            <a:rect l="l" t="t" r="r" b="b"/>
            <a:pathLst>
              <a:path w="170870" h="171040">
                <a:moveTo>
                  <a:pt x="21049" y="0"/>
                </a:moveTo>
                <a:lnTo>
                  <a:pt x="9334" y="2478"/>
                </a:lnTo>
                <a:lnTo>
                  <a:pt x="4820" y="6130"/>
                </a:lnTo>
                <a:lnTo>
                  <a:pt x="0" y="16817"/>
                </a:lnTo>
                <a:lnTo>
                  <a:pt x="2478" y="28532"/>
                </a:lnTo>
                <a:lnTo>
                  <a:pt x="85608" y="171040"/>
                </a:lnTo>
                <a:lnTo>
                  <a:pt x="129717" y="95425"/>
                </a:lnTo>
                <a:lnTo>
                  <a:pt x="85608" y="95425"/>
                </a:lnTo>
                <a:lnTo>
                  <a:pt x="35388" y="9333"/>
                </a:lnTo>
                <a:lnTo>
                  <a:pt x="31737" y="4819"/>
                </a:lnTo>
                <a:lnTo>
                  <a:pt x="21049" y="0"/>
                </a:lnTo>
                <a:close/>
              </a:path>
              <a:path w="170870" h="171040">
                <a:moveTo>
                  <a:pt x="156481" y="346"/>
                </a:moveTo>
                <a:lnTo>
                  <a:pt x="144805" y="1411"/>
                </a:lnTo>
                <a:lnTo>
                  <a:pt x="135828" y="9333"/>
                </a:lnTo>
                <a:lnTo>
                  <a:pt x="85608" y="95425"/>
                </a:lnTo>
                <a:lnTo>
                  <a:pt x="129717" y="95425"/>
                </a:lnTo>
                <a:lnTo>
                  <a:pt x="168738" y="28532"/>
                </a:lnTo>
                <a:lnTo>
                  <a:pt x="170870" y="23130"/>
                </a:lnTo>
                <a:lnTo>
                  <a:pt x="169805" y="11454"/>
                </a:lnTo>
                <a:lnTo>
                  <a:pt x="161882" y="2478"/>
                </a:lnTo>
                <a:lnTo>
                  <a:pt x="156481" y="346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3018105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1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517245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2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947471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446611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945752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5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416364" y="5309740"/>
            <a:ext cx="20891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4064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944033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7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443173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8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942314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9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441455" y="5309740"/>
            <a:ext cx="33464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6858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Ou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r sc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e: </a:t>
            </a:r>
            <a:r>
              <a:rPr lang="en-CA" sz="3200" spc="-15" dirty="0">
                <a:solidFill>
                  <a:srgbClr val="F79646"/>
                </a:solidFill>
                <a:latin typeface="Calibri"/>
                <a:cs typeface="Calibri"/>
              </a:rPr>
              <a:t>Inertia</a:t>
            </a:r>
            <a:endParaRPr sz="3200" dirty="0">
              <a:latin typeface="Calibri"/>
              <a:cs typeface="Calibri"/>
            </a:endParaRPr>
          </a:p>
          <a:p>
            <a:pPr marL="685800" marR="12700">
              <a:lnSpc>
                <a:spcPts val="3800"/>
              </a:lnSpc>
              <a:spcBef>
                <a:spcPts val="120"/>
              </a:spcBef>
            </a:pP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H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lang="en-CA" sz="3200" spc="-30" dirty="0">
                <a:solidFill>
                  <a:srgbClr val="7F7F7F"/>
                </a:solidFill>
                <a:latin typeface="Calibri"/>
                <a:cs typeface="Calibri"/>
              </a:rPr>
              <a:t>within-cluste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 d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ns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y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ith hi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her </a:t>
            </a: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 </a:t>
            </a:r>
            <a:r>
              <a:rPr lang="en-CA" sz="3200" spc="-1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r>
              <a:rPr sz="3200" spc="-22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ill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o d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0" dirty="0">
                <a:solidFill>
                  <a:srgbClr val="7F7F7F"/>
                </a:solidFill>
                <a:latin typeface="Calibri"/>
                <a:cs typeface="Calibri"/>
              </a:rPr>
              <a:t>n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517371" y="1965961"/>
            <a:ext cx="290945" cy="33250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663332" y="2117809"/>
            <a:ext cx="0" cy="3107726"/>
          </a:xfrm>
          <a:custGeom>
            <a:avLst/>
            <a:gdLst/>
            <a:ahLst/>
            <a:cxnLst/>
            <a:rect l="l" t="t" r="r" b="b"/>
            <a:pathLst>
              <a:path h="3107726">
                <a:moveTo>
                  <a:pt x="0" y="3107726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04378" y="2092605"/>
            <a:ext cx="117908" cy="115909"/>
          </a:xfrm>
          <a:custGeom>
            <a:avLst/>
            <a:gdLst/>
            <a:ahLst/>
            <a:cxnLst/>
            <a:rect l="l" t="t" r="r" b="b"/>
            <a:pathLst>
              <a:path w="117908" h="115909">
                <a:moveTo>
                  <a:pt x="58954" y="0"/>
                </a:moveTo>
                <a:lnTo>
                  <a:pt x="0" y="101064"/>
                </a:lnTo>
                <a:lnTo>
                  <a:pt x="2046" y="108841"/>
                </a:lnTo>
                <a:lnTo>
                  <a:pt x="14163" y="115909"/>
                </a:lnTo>
                <a:lnTo>
                  <a:pt x="21940" y="113863"/>
                </a:lnTo>
                <a:lnTo>
                  <a:pt x="58954" y="50410"/>
                </a:lnTo>
                <a:lnTo>
                  <a:pt x="88360" y="50410"/>
                </a:lnTo>
                <a:lnTo>
                  <a:pt x="58954" y="0"/>
                </a:lnTo>
                <a:close/>
              </a:path>
              <a:path w="117908" h="115909">
                <a:moveTo>
                  <a:pt x="88360" y="50410"/>
                </a:moveTo>
                <a:lnTo>
                  <a:pt x="58954" y="50410"/>
                </a:lnTo>
                <a:lnTo>
                  <a:pt x="95968" y="113863"/>
                </a:lnTo>
                <a:lnTo>
                  <a:pt x="103744" y="115909"/>
                </a:lnTo>
                <a:lnTo>
                  <a:pt x="115861" y="108841"/>
                </a:lnTo>
                <a:lnTo>
                  <a:pt x="117908" y="101064"/>
                </a:lnTo>
                <a:lnTo>
                  <a:pt x="88360" y="5041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617124" y="5099858"/>
            <a:ext cx="7348451" cy="2909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63332" y="5225535"/>
            <a:ext cx="7128068" cy="0"/>
          </a:xfrm>
          <a:custGeom>
            <a:avLst/>
            <a:gdLst/>
            <a:ahLst/>
            <a:cxnLst/>
            <a:rect l="l" t="t" r="r" b="b"/>
            <a:pathLst>
              <a:path w="7128068">
                <a:moveTo>
                  <a:pt x="0" y="0"/>
                </a:moveTo>
                <a:lnTo>
                  <a:pt x="7128068" y="0"/>
                </a:lnTo>
              </a:path>
            </a:pathLst>
          </a:custGeom>
          <a:ln w="25399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700698" y="5166582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5"/>
                </a:lnTo>
                <a:lnTo>
                  <a:pt x="0" y="14163"/>
                </a:lnTo>
                <a:lnTo>
                  <a:pt x="2047" y="21939"/>
                </a:lnTo>
                <a:lnTo>
                  <a:pt x="65498" y="58953"/>
                </a:lnTo>
                <a:lnTo>
                  <a:pt x="2047" y="95967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8"/>
                </a:lnTo>
                <a:lnTo>
                  <a:pt x="115909" y="58953"/>
                </a:lnTo>
                <a:lnTo>
                  <a:pt x="14845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036917" y="2094807"/>
            <a:ext cx="340821" cy="89777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99959" y="2123471"/>
            <a:ext cx="214529" cy="795573"/>
          </a:xfrm>
          <a:custGeom>
            <a:avLst/>
            <a:gdLst/>
            <a:ahLst/>
            <a:cxnLst/>
            <a:rect l="l" t="t" r="r" b="b"/>
            <a:pathLst>
              <a:path w="214529" h="795573">
                <a:moveTo>
                  <a:pt x="0" y="0"/>
                </a:moveTo>
                <a:lnTo>
                  <a:pt x="214529" y="795573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253046" y="2888672"/>
            <a:ext cx="827116" cy="98505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314488" y="2921668"/>
            <a:ext cx="703185" cy="872610"/>
          </a:xfrm>
          <a:custGeom>
            <a:avLst/>
            <a:gdLst/>
            <a:ahLst/>
            <a:cxnLst/>
            <a:rect l="l" t="t" r="r" b="b"/>
            <a:pathLst>
              <a:path w="703185" h="872610">
                <a:moveTo>
                  <a:pt x="0" y="0"/>
                </a:moveTo>
                <a:lnTo>
                  <a:pt x="703185" y="872610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959628" y="3757353"/>
            <a:ext cx="926868" cy="82295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017992" y="3794278"/>
            <a:ext cx="810929" cy="703776"/>
          </a:xfrm>
          <a:custGeom>
            <a:avLst/>
            <a:gdLst/>
            <a:ahLst/>
            <a:cxnLst/>
            <a:rect l="l" t="t" r="r" b="b"/>
            <a:pathLst>
              <a:path w="810929" h="703776">
                <a:moveTo>
                  <a:pt x="0" y="0"/>
                </a:moveTo>
                <a:lnTo>
                  <a:pt x="810929" y="703776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778432" y="4455622"/>
            <a:ext cx="1251065" cy="49460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828921" y="4498052"/>
            <a:ext cx="1147542" cy="367187"/>
          </a:xfrm>
          <a:custGeom>
            <a:avLst/>
            <a:gdLst/>
            <a:ahLst/>
            <a:cxnLst/>
            <a:rect l="l" t="t" r="r" b="b"/>
            <a:pathLst>
              <a:path w="1147542" h="367187">
                <a:moveTo>
                  <a:pt x="0" y="0"/>
                </a:moveTo>
                <a:lnTo>
                  <a:pt x="1147542" y="367187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929746" y="4825538"/>
            <a:ext cx="1026621" cy="23275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976464" y="4865238"/>
            <a:ext cx="933333" cy="107095"/>
          </a:xfrm>
          <a:custGeom>
            <a:avLst/>
            <a:gdLst/>
            <a:ahLst/>
            <a:cxnLst/>
            <a:rect l="l" t="t" r="r" b="b"/>
            <a:pathLst>
              <a:path w="933333" h="107095">
                <a:moveTo>
                  <a:pt x="0" y="0"/>
                </a:moveTo>
                <a:lnTo>
                  <a:pt x="933333" y="107095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864927" y="4929448"/>
            <a:ext cx="1005839" cy="12884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909799" y="4972333"/>
            <a:ext cx="914399" cy="0"/>
          </a:xfrm>
          <a:custGeom>
            <a:avLst/>
            <a:gdLst/>
            <a:ahLst/>
            <a:cxnLst/>
            <a:rect l="l" t="t" r="r" b="b"/>
            <a:pathLst>
              <a:path w="914399">
                <a:moveTo>
                  <a:pt x="0" y="0"/>
                </a:moveTo>
                <a:lnTo>
                  <a:pt x="914399" y="0"/>
                </a:lnTo>
              </a:path>
            </a:pathLst>
          </a:custGeom>
          <a:ln w="38099">
            <a:solidFill>
              <a:srgbClr val="FAA75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651558" y="2432442"/>
            <a:ext cx="4495165" cy="9042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2700" algn="r"/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?</a:t>
            </a:r>
            <a:endParaRPr sz="3200" dirty="0">
              <a:latin typeface="Calibri"/>
              <a:cs typeface="Calibri"/>
            </a:endParaRPr>
          </a:p>
          <a:p>
            <a:pPr marL="12700">
              <a:spcBef>
                <a:spcPts val="250"/>
              </a:spcBef>
            </a:pPr>
            <a:r>
              <a:rPr lang="en-CA" sz="2400" dirty="0">
                <a:solidFill>
                  <a:srgbClr val="7F7F7F"/>
                </a:solidFill>
                <a:latin typeface="Calibri"/>
                <a:cs typeface="Calibri"/>
              </a:rPr>
              <a:t>Inertia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018105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1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517245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2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947471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446611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4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945752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5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416364" y="5309740"/>
            <a:ext cx="208915" cy="740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4064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  <a:p>
            <a:pPr marL="12700">
              <a:lnSpc>
                <a:spcPts val="2800"/>
              </a:lnSpc>
            </a:pP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944033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7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443173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8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942314" y="5309740"/>
            <a:ext cx="18034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9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441455" y="5309740"/>
            <a:ext cx="334645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10</a:t>
            </a:r>
            <a:endParaRPr sz="2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rgbClr val="F79646"/>
                </a:solidFill>
                <a:cs typeface="Calibri"/>
              </a:rPr>
              <a:t>Even Better</a:t>
            </a:r>
            <a:r>
              <a:rPr lang="en-US" sz="4000" spc="-15" dirty="0">
                <a:solidFill>
                  <a:srgbClr val="F79646"/>
                </a:solidFill>
                <a:cs typeface="Calibri"/>
              </a:rPr>
              <a:t>: </a:t>
            </a:r>
            <a:r>
              <a:rPr lang="en-US" sz="4000" spc="-15" dirty="0">
                <a:solidFill>
                  <a:srgbClr val="F79646"/>
                </a:solidFill>
                <a:cs typeface="Calibri"/>
                <a:hlinkClick r:id="rId3"/>
              </a:rPr>
              <a:t>Silhouette Score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2773585" y="1258142"/>
            <a:ext cx="6644831" cy="4228258"/>
          </a:xfrm>
        </p:spPr>
        <p:txBody>
          <a:bodyPr/>
          <a:lstStyle/>
          <a:p>
            <a:r>
              <a:rPr lang="en-US" dirty="0"/>
              <a:t>Like F1 Score, tracks a balance of two competing metrics</a:t>
            </a:r>
          </a:p>
          <a:p>
            <a:r>
              <a:rPr lang="en-US" dirty="0"/>
              <a:t>Is a more objective, standardized value than “finding the elbow in the curve” with </a:t>
            </a:r>
            <a:r>
              <a:rPr lang="en-US" dirty="0" err="1"/>
              <a:t>intertia</a:t>
            </a:r>
            <a:r>
              <a:rPr lang="en-US" dirty="0"/>
              <a:t>.</a:t>
            </a:r>
          </a:p>
          <a:p>
            <a:r>
              <a:rPr lang="en-US" dirty="0" err="1">
                <a:hlinkClick r:id="rId4"/>
              </a:rPr>
              <a:t>SKLearn</a:t>
            </a:r>
            <a:r>
              <a:rPr lang="en-US" dirty="0">
                <a:hlinkClick r:id="rId4"/>
              </a:rPr>
              <a:t> has other options </a:t>
            </a:r>
            <a:r>
              <a:rPr lang="en-US" dirty="0"/>
              <a:t>if ground truth labels are known or determinab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2733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9" y="318187"/>
            <a:ext cx="7117715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b="1" spc="-20" dirty="0">
                <a:solidFill>
                  <a:srgbClr val="C0504D"/>
                </a:solidFill>
                <a:latin typeface="Calibri"/>
                <a:cs typeface="Calibri"/>
              </a:rPr>
              <a:t>C</a:t>
            </a:r>
            <a:r>
              <a:rPr sz="3200" b="1" spc="-15" dirty="0">
                <a:solidFill>
                  <a:srgbClr val="C0504D"/>
                </a:solidFill>
                <a:latin typeface="Calibri"/>
                <a:cs typeface="Calibri"/>
              </a:rPr>
              <a:t>l</a:t>
            </a:r>
            <a:r>
              <a:rPr sz="3200" b="1" spc="-25" dirty="0">
                <a:solidFill>
                  <a:srgbClr val="C0504D"/>
                </a:solidFill>
                <a:latin typeface="Calibri"/>
                <a:cs typeface="Calibri"/>
              </a:rPr>
              <a:t>u</a:t>
            </a:r>
            <a:r>
              <a:rPr sz="3200" b="1" spc="-15" dirty="0">
                <a:solidFill>
                  <a:srgbClr val="C0504D"/>
                </a:solidFill>
                <a:latin typeface="Calibri"/>
                <a:cs typeface="Calibri"/>
              </a:rPr>
              <a:t>s</a:t>
            </a:r>
            <a:r>
              <a:rPr sz="3200" b="1" spc="-20" dirty="0">
                <a:solidFill>
                  <a:srgbClr val="C0504D"/>
                </a:solidFill>
                <a:latin typeface="Calibri"/>
                <a:cs typeface="Calibri"/>
              </a:rPr>
              <a:t>t</a:t>
            </a:r>
            <a:r>
              <a:rPr sz="3200" b="1" dirty="0">
                <a:solidFill>
                  <a:srgbClr val="C0504D"/>
                </a:solidFill>
                <a:latin typeface="Calibri"/>
                <a:cs typeface="Calibri"/>
              </a:rPr>
              <a:t>er</a:t>
            </a:r>
            <a:r>
              <a:rPr sz="3200" b="1" spc="-5" dirty="0">
                <a:solidFill>
                  <a:srgbClr val="C0504D"/>
                </a:solidFill>
                <a:latin typeface="Calibri"/>
                <a:cs typeface="Calibri"/>
              </a:rPr>
              <a:t>i</a:t>
            </a:r>
            <a:r>
              <a:rPr sz="3200" b="1" spc="-25" dirty="0">
                <a:solidFill>
                  <a:srgbClr val="C0504D"/>
                </a:solidFill>
                <a:latin typeface="Calibri"/>
                <a:cs typeface="Calibri"/>
              </a:rPr>
              <a:t>n</a:t>
            </a:r>
            <a:r>
              <a:rPr sz="3200" b="1" spc="5" dirty="0">
                <a:solidFill>
                  <a:srgbClr val="C0504D"/>
                </a:solidFill>
                <a:latin typeface="Calibri"/>
                <a:cs typeface="Calibri"/>
              </a:rPr>
              <a:t>g</a:t>
            </a:r>
            <a:r>
              <a:rPr sz="3200" spc="-10" dirty="0">
                <a:solidFill>
                  <a:srgbClr val="CD665F"/>
                </a:solidFill>
                <a:latin typeface="Calibri"/>
                <a:cs typeface="Calibri"/>
              </a:rPr>
              <a:t>: Findin</a:t>
            </a:r>
            <a:r>
              <a:rPr sz="3200" spc="-15" dirty="0">
                <a:solidFill>
                  <a:srgbClr val="CD665F"/>
                </a:solidFill>
                <a:latin typeface="Calibri"/>
                <a:cs typeface="Calibri"/>
              </a:rPr>
              <a:t>g s</a:t>
            </a:r>
            <a:r>
              <a:rPr sz="3200" spc="-20" dirty="0">
                <a:solidFill>
                  <a:srgbClr val="CD665F"/>
                </a:solidFill>
                <a:latin typeface="Calibri"/>
                <a:cs typeface="Calibri"/>
              </a:rPr>
              <a:t>epar</a:t>
            </a:r>
            <a:r>
              <a:rPr sz="3200" spc="-15" dirty="0">
                <a:solidFill>
                  <a:srgbClr val="CD665F"/>
                </a:solidFill>
                <a:latin typeface="Calibri"/>
                <a:cs typeface="Calibri"/>
              </a:rPr>
              <a:t>ate g</a:t>
            </a:r>
            <a:r>
              <a:rPr sz="3200" spc="-20" dirty="0">
                <a:solidFill>
                  <a:srgbClr val="CD665F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CD665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CD665F"/>
                </a:solidFill>
                <a:latin typeface="Calibri"/>
                <a:cs typeface="Calibri"/>
              </a:rPr>
              <a:t>ups in d</a:t>
            </a:r>
            <a:r>
              <a:rPr sz="3200" spc="-15" dirty="0">
                <a:solidFill>
                  <a:srgbClr val="CD665F"/>
                </a:solidFill>
                <a:latin typeface="Calibri"/>
                <a:cs typeface="Calibri"/>
              </a:rPr>
              <a:t>ata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8" y="2822999"/>
            <a:ext cx="2633980" cy="14751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99500"/>
              </a:lnSpc>
            </a:pP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C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l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, shape, </a:t>
            </a:r>
            <a:r>
              <a:rPr sz="2400" spc="-2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igh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t, s</a:t>
            </a:r>
            <a:r>
              <a:rPr sz="2400" spc="-25" dirty="0">
                <a:solidFill>
                  <a:srgbClr val="4F81BD"/>
                </a:solidFill>
                <a:latin typeface="Calibri"/>
                <a:cs typeface="Calibri"/>
              </a:rPr>
              <a:t>w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etness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, s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u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n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ss f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 a bunch </a:t>
            </a:r>
            <a:r>
              <a:rPr sz="24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4F81BD"/>
                </a:solidFill>
                <a:latin typeface="Calibri"/>
                <a:cs typeface="Calibri"/>
              </a:rPr>
              <a:t>f ali</a:t>
            </a:r>
            <a:r>
              <a:rPr sz="2400" spc="-15" dirty="0">
                <a:solidFill>
                  <a:srgbClr val="4F81BD"/>
                </a:solidFill>
                <a:latin typeface="Calibri"/>
                <a:cs typeface="Calibri"/>
              </a:rPr>
              <a:t>en f</a:t>
            </a:r>
            <a:r>
              <a:rPr sz="2400" spc="-10" dirty="0">
                <a:solidFill>
                  <a:srgbClr val="4F81BD"/>
                </a:solidFill>
                <a:latin typeface="Calibri"/>
                <a:cs typeface="Calibri"/>
              </a:rPr>
              <a:t>ruit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23164" y="3246121"/>
            <a:ext cx="1990897" cy="2909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70120" y="3372271"/>
            <a:ext cx="1771050" cy="0"/>
          </a:xfrm>
          <a:custGeom>
            <a:avLst/>
            <a:gdLst/>
            <a:ahLst/>
            <a:cxnLst/>
            <a:rect l="l" t="t" r="r" b="b"/>
            <a:pathLst>
              <a:path w="1771050">
                <a:moveTo>
                  <a:pt x="0" y="0"/>
                </a:moveTo>
                <a:lnTo>
                  <a:pt x="1771050" y="0"/>
                </a:lnTo>
              </a:path>
            </a:pathLst>
          </a:custGeom>
          <a:ln w="25399">
            <a:solidFill>
              <a:srgbClr val="AAC4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950468" y="3313318"/>
            <a:ext cx="115909" cy="117908"/>
          </a:xfrm>
          <a:custGeom>
            <a:avLst/>
            <a:gdLst/>
            <a:ahLst/>
            <a:cxnLst/>
            <a:rect l="l" t="t" r="r" b="b"/>
            <a:pathLst>
              <a:path w="115909" h="117908">
                <a:moveTo>
                  <a:pt x="14845" y="0"/>
                </a:moveTo>
                <a:lnTo>
                  <a:pt x="7068" y="2045"/>
                </a:lnTo>
                <a:lnTo>
                  <a:pt x="0" y="14163"/>
                </a:lnTo>
                <a:lnTo>
                  <a:pt x="2045" y="21939"/>
                </a:lnTo>
                <a:lnTo>
                  <a:pt x="65498" y="58953"/>
                </a:lnTo>
                <a:lnTo>
                  <a:pt x="2045" y="95967"/>
                </a:lnTo>
                <a:lnTo>
                  <a:pt x="0" y="103745"/>
                </a:lnTo>
                <a:lnTo>
                  <a:pt x="7068" y="115862"/>
                </a:lnTo>
                <a:lnTo>
                  <a:pt x="14845" y="117908"/>
                </a:lnTo>
                <a:lnTo>
                  <a:pt x="115909" y="58953"/>
                </a:lnTo>
                <a:lnTo>
                  <a:pt x="148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7602727" y="2588241"/>
            <a:ext cx="2604135" cy="16891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ct val="99800"/>
              </a:lnSpc>
            </a:pPr>
            <a:r>
              <a:rPr lang="en-CA" sz="3200" dirty="0">
                <a:solidFill>
                  <a:srgbClr val="F79646"/>
                </a:solidFill>
                <a:latin typeface="Calibri"/>
                <a:cs typeface="Calibri"/>
              </a:rPr>
              <a:t>Identify</a:t>
            </a:r>
            <a:r>
              <a:rPr sz="3200" spc="-10" dirty="0">
                <a:solidFill>
                  <a:srgbClr val="F79646"/>
                </a:solidFill>
                <a:latin typeface="Calibri"/>
                <a:cs typeface="Calibri"/>
              </a:rPr>
              <a:t> diﬀ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ren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t f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uits </a:t>
            </a:r>
            <a:r>
              <a:rPr sz="2300" dirty="0">
                <a:solidFill>
                  <a:srgbClr val="A6A6A6"/>
                </a:solidFill>
                <a:latin typeface="Calibri"/>
                <a:cs typeface="Calibri"/>
              </a:rPr>
              <a:t>(</a:t>
            </a:r>
            <a:r>
              <a:rPr lang="en-CA" sz="2300" dirty="0">
                <a:solidFill>
                  <a:srgbClr val="A6A6A6"/>
                </a:solidFill>
                <a:latin typeface="Calibri"/>
                <a:cs typeface="Calibri"/>
              </a:rPr>
              <a:t>still</a:t>
            </a:r>
            <a:r>
              <a:rPr sz="2300" spc="-160" dirty="0">
                <a:solidFill>
                  <a:srgbClr val="A6A6A6"/>
                </a:solidFill>
                <a:latin typeface="Calibri"/>
                <a:cs typeface="Calibri"/>
              </a:rPr>
              <a:t> d</a:t>
            </a:r>
            <a:r>
              <a:rPr sz="2300" spc="-5" dirty="0">
                <a:solidFill>
                  <a:srgbClr val="A6A6A6"/>
                </a:solidFill>
                <a:latin typeface="Calibri"/>
                <a:cs typeface="Calibri"/>
              </a:rPr>
              <a:t>o</a:t>
            </a:r>
            <a:r>
              <a:rPr sz="2300" dirty="0">
                <a:solidFill>
                  <a:srgbClr val="A6A6A6"/>
                </a:solidFill>
                <a:latin typeface="Calibri"/>
                <a:cs typeface="Calibri"/>
              </a:rPr>
              <a:t>n</a:t>
            </a:r>
            <a:r>
              <a:rPr sz="2300" spc="-10" dirty="0">
                <a:solidFill>
                  <a:srgbClr val="A6A6A6"/>
                </a:solidFill>
                <a:latin typeface="Calibri"/>
                <a:cs typeface="Calibri"/>
              </a:rPr>
              <a:t>’t </a:t>
            </a:r>
            <a:r>
              <a:rPr sz="2300" spc="-15" dirty="0">
                <a:solidFill>
                  <a:srgbClr val="A6A6A6"/>
                </a:solidFill>
                <a:latin typeface="Calibri"/>
                <a:cs typeface="Calibri"/>
              </a:rPr>
              <a:t>kn</a:t>
            </a:r>
            <a:r>
              <a:rPr sz="2300" spc="-5" dirty="0">
                <a:solidFill>
                  <a:srgbClr val="A6A6A6"/>
                </a:solidFill>
                <a:latin typeface="Calibri"/>
                <a:cs typeface="Calibri"/>
              </a:rPr>
              <a:t>o</a:t>
            </a:r>
            <a:r>
              <a:rPr sz="2300" spc="-20" dirty="0">
                <a:solidFill>
                  <a:srgbClr val="A6A6A6"/>
                </a:solidFill>
                <a:latin typeface="Calibri"/>
                <a:cs typeface="Calibri"/>
              </a:rPr>
              <a:t>w </a:t>
            </a:r>
            <a:r>
              <a:rPr sz="2300" spc="-25" dirty="0">
                <a:solidFill>
                  <a:srgbClr val="A6A6A6"/>
                </a:solidFill>
                <a:latin typeface="Calibri"/>
                <a:cs typeface="Calibri"/>
              </a:rPr>
              <a:t>w</a:t>
            </a:r>
            <a:r>
              <a:rPr sz="2300" dirty="0">
                <a:solidFill>
                  <a:srgbClr val="A6A6A6"/>
                </a:solidFill>
                <a:latin typeface="Calibri"/>
                <a:cs typeface="Calibri"/>
              </a:rPr>
              <a:t>h</a:t>
            </a:r>
            <a:r>
              <a:rPr sz="2300" spc="-10" dirty="0">
                <a:solidFill>
                  <a:srgbClr val="A6A6A6"/>
                </a:solidFill>
                <a:latin typeface="Calibri"/>
                <a:cs typeface="Calibri"/>
              </a:rPr>
              <a:t>at each gr</a:t>
            </a:r>
            <a:r>
              <a:rPr sz="2300" spc="-5" dirty="0">
                <a:solidFill>
                  <a:srgbClr val="A6A6A6"/>
                </a:solidFill>
                <a:latin typeface="Calibri"/>
                <a:cs typeface="Calibri"/>
              </a:rPr>
              <a:t>o</a:t>
            </a:r>
            <a:r>
              <a:rPr sz="2300" dirty="0">
                <a:solidFill>
                  <a:srgbClr val="A6A6A6"/>
                </a:solidFill>
                <a:latin typeface="Calibri"/>
                <a:cs typeface="Calibri"/>
              </a:rPr>
              <a:t>up is)</a:t>
            </a:r>
            <a:endParaRPr sz="23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823737" y="720858"/>
            <a:ext cx="466153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r an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y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hi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g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ith 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distan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ce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s</a:t>
            </a:r>
            <a:r>
              <a:rPr sz="3200" spc="-10" dirty="0">
                <a:solidFill>
                  <a:srgbClr val="7F7F7F"/>
                </a:solidFill>
                <a:latin typeface="Calibri"/>
                <a:cs typeface="Calibri"/>
              </a:rPr>
              <a:t>,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aling 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is 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ver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y i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mp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tan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t!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44662" y="4315964"/>
            <a:ext cx="5015230" cy="5086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kl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ear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n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.</a:t>
            </a:r>
            <a:r>
              <a:rPr sz="3200" dirty="0">
                <a:solidFill>
                  <a:srgbClr val="4F81BD"/>
                </a:solidFill>
                <a:latin typeface="Calibri"/>
                <a:cs typeface="Calibri"/>
              </a:rPr>
              <a:t>p</a:t>
            </a:r>
            <a:r>
              <a:rPr sz="3200" spc="-20" dirty="0">
                <a:solidFill>
                  <a:srgbClr val="4F81BD"/>
                </a:solidFill>
                <a:latin typeface="Calibri"/>
                <a:cs typeface="Calibri"/>
              </a:rPr>
              <a:t>repr</a:t>
            </a:r>
            <a:r>
              <a:rPr sz="3200" spc="-5" dirty="0">
                <a:solidFill>
                  <a:srgbClr val="4F81BD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4F81BD"/>
                </a:solidFill>
                <a:latin typeface="Calibri"/>
                <a:cs typeface="Calibri"/>
              </a:rPr>
              <a:t>cessing</a:t>
            </a:r>
            <a:r>
              <a:rPr sz="3200" spc="-15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scal</a:t>
            </a:r>
            <a:r>
              <a:rPr sz="3200" spc="-25" dirty="0">
                <a:solidFill>
                  <a:srgbClr val="9BBB59"/>
                </a:solidFill>
                <a:latin typeface="Calibri"/>
                <a:cs typeface="Calibri"/>
              </a:rPr>
              <a:t>e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(X)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  <p:transition spd="med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128888" y="468359"/>
            <a:ext cx="5244465" cy="447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fr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 </a:t>
            </a:r>
            <a:r>
              <a:rPr sz="2800" dirty="0">
                <a:solidFill>
                  <a:srgbClr val="4F81BD"/>
                </a:solidFill>
                <a:latin typeface="Calibri"/>
                <a:cs typeface="Calibri"/>
              </a:rPr>
              <a:t>s</a:t>
            </a:r>
            <a:r>
              <a:rPr sz="2800" spc="-15" dirty="0">
                <a:solidFill>
                  <a:srgbClr val="4F81BD"/>
                </a:solidFill>
                <a:latin typeface="Calibri"/>
                <a:cs typeface="Calibri"/>
              </a:rPr>
              <a:t>klear</a:t>
            </a:r>
            <a:r>
              <a:rPr sz="2800" dirty="0">
                <a:solidFill>
                  <a:srgbClr val="4F81BD"/>
                </a:solidFill>
                <a:latin typeface="Calibri"/>
                <a:cs typeface="Calibri"/>
              </a:rPr>
              <a:t>n</a:t>
            </a:r>
            <a:r>
              <a:rPr sz="2800" spc="-5" dirty="0">
                <a:solidFill>
                  <a:srgbClr val="4F81BD"/>
                </a:solidFill>
                <a:latin typeface="Calibri"/>
                <a:cs typeface="Calibri"/>
              </a:rPr>
              <a:t>.</a:t>
            </a:r>
            <a:r>
              <a:rPr sz="2800" spc="-15" dirty="0">
                <a:solidFill>
                  <a:srgbClr val="4F81BD"/>
                </a:solidFill>
                <a:latin typeface="Calibri"/>
                <a:cs typeface="Calibri"/>
              </a:rPr>
              <a:t>cluster 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i</a:t>
            </a:r>
            <a:r>
              <a:rPr sz="2800" b="1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800" b="1" spc="-20" dirty="0">
                <a:solidFill>
                  <a:srgbClr val="7F7F7F"/>
                </a:solidFill>
                <a:latin typeface="Calibri"/>
                <a:cs typeface="Calibri"/>
              </a:rPr>
              <a:t>po</a:t>
            </a:r>
            <a:r>
              <a:rPr sz="2800" b="1" spc="-10" dirty="0">
                <a:solidFill>
                  <a:srgbClr val="7F7F7F"/>
                </a:solidFill>
                <a:latin typeface="Calibri"/>
                <a:cs typeface="Calibri"/>
              </a:rPr>
              <a:t>rt</a:t>
            </a:r>
            <a:r>
              <a:rPr sz="2800" b="1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800" spc="-20" dirty="0">
                <a:solidFill>
                  <a:srgbClr val="9BBB59"/>
                </a:solidFill>
                <a:latin typeface="Calibri"/>
                <a:cs typeface="Calibri"/>
              </a:rPr>
              <a:t>Kmeans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28887" y="2165038"/>
            <a:ext cx="4622800" cy="3017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721995">
              <a:lnSpc>
                <a:spcPct val="101200"/>
              </a:lnSpc>
            </a:pPr>
            <a:r>
              <a:rPr sz="2800" spc="-25" dirty="0">
                <a:solidFill>
                  <a:srgbClr val="7F7F7F"/>
                </a:solidFill>
                <a:latin typeface="Calibri"/>
                <a:cs typeface="Calibri"/>
              </a:rPr>
              <a:t>m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d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el = </a:t>
            </a:r>
            <a:r>
              <a:rPr sz="2800" spc="-20" dirty="0">
                <a:solidFill>
                  <a:srgbClr val="7F7F7F"/>
                </a:solidFill>
                <a:latin typeface="Calibri"/>
                <a:cs typeface="Calibri"/>
              </a:rPr>
              <a:t>Kmeans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ﬁ</a:t>
            </a:r>
            <a:r>
              <a:rPr sz="2800" spc="-10" dirty="0">
                <a:solidFill>
                  <a:srgbClr val="7F7F7F"/>
                </a:solidFill>
                <a:latin typeface="Calibri"/>
                <a:cs typeface="Calibri"/>
              </a:rPr>
              <a:t>t(X) 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clusters =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 m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od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e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l.p</a:t>
            </a:r>
            <a:r>
              <a:rPr sz="2800" spc="-20" dirty="0">
                <a:solidFill>
                  <a:srgbClr val="7F7F7F"/>
                </a:solidFill>
                <a:latin typeface="Calibri"/>
                <a:cs typeface="Calibri"/>
              </a:rPr>
              <a:t>re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di</a:t>
            </a:r>
            <a:r>
              <a:rPr sz="2800" spc="-20" dirty="0">
                <a:solidFill>
                  <a:srgbClr val="7F7F7F"/>
                </a:solidFill>
                <a:latin typeface="Calibri"/>
                <a:cs typeface="Calibri"/>
              </a:rPr>
              <a:t>ct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(X)</a:t>
            </a:r>
            <a:endParaRPr sz="28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300"/>
              </a:lnSpc>
              <a:spcBef>
                <a:spcPts val="39"/>
              </a:spcBef>
            </a:pPr>
            <a:endParaRPr sz="1300"/>
          </a:p>
          <a:p>
            <a:pPr marL="12700"/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…</a:t>
            </a:r>
            <a:endParaRPr sz="2800">
              <a:latin typeface="Calibri"/>
              <a:cs typeface="Calibri"/>
            </a:endParaRPr>
          </a:p>
          <a:p>
            <a:pPr>
              <a:lnSpc>
                <a:spcPts val="700"/>
              </a:lnSpc>
              <a:spcBef>
                <a:spcPts val="40"/>
              </a:spcBef>
            </a:pPr>
            <a:endParaRPr sz="7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 marL="12700"/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clusters =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800" spc="-20" dirty="0">
                <a:solidFill>
                  <a:srgbClr val="7F7F7F"/>
                </a:solidFill>
                <a:latin typeface="Calibri"/>
                <a:cs typeface="Calibri"/>
              </a:rPr>
              <a:t>Kmeans</a:t>
            </a:r>
            <a:r>
              <a:rPr sz="2800" spc="-5" dirty="0">
                <a:solidFill>
                  <a:srgbClr val="7F7F7F"/>
                </a:solidFill>
                <a:latin typeface="Calibri"/>
                <a:cs typeface="Calibri"/>
              </a:rPr>
              <a:t>.</a:t>
            </a:r>
            <a:r>
              <a:rPr sz="2800" dirty="0">
                <a:solidFill>
                  <a:srgbClr val="7F7F7F"/>
                </a:solidFill>
                <a:latin typeface="Calibri"/>
                <a:cs typeface="Calibri"/>
              </a:rPr>
              <a:t>ﬁt_p</a:t>
            </a:r>
            <a:r>
              <a:rPr sz="2800" spc="-15" dirty="0">
                <a:solidFill>
                  <a:srgbClr val="7F7F7F"/>
                </a:solidFill>
                <a:latin typeface="Calibri"/>
                <a:cs typeface="Calibri"/>
              </a:rPr>
              <a:t>redict(X)</a:t>
            </a:r>
            <a:endParaRPr sz="2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42988" y="736044"/>
            <a:ext cx="5703570" cy="867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Findin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g units 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w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ith si</a:t>
            </a:r>
            <a:r>
              <a:rPr sz="3200" spc="-30" dirty="0">
                <a:solidFill>
                  <a:srgbClr val="F79646"/>
                </a:solidFill>
                <a:latin typeface="Calibri"/>
                <a:cs typeface="Calibri"/>
              </a:rPr>
              <a:t>mil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r b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eh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avi</a:t>
            </a:r>
            <a:r>
              <a:rPr sz="3200" spc="-5" dirty="0">
                <a:solidFill>
                  <a:srgbClr val="F79646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f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nd 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g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ups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, si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mil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ar p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d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ts, etc.)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42988" y="2069544"/>
            <a:ext cx="7409180" cy="41694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Market segmen</a:t>
            </a:r>
            <a:r>
              <a:rPr sz="3200" spc="-80" dirty="0">
                <a:solidFill>
                  <a:srgbClr val="9BBB59"/>
                </a:solidFill>
                <a:latin typeface="Calibri"/>
                <a:cs typeface="Calibri"/>
              </a:rPr>
              <a:t>ta</a:t>
            </a:r>
            <a:r>
              <a:rPr lang="en-US" sz="3200" spc="-80" dirty="0">
                <a:solidFill>
                  <a:srgbClr val="9BBB59"/>
                </a:solidFill>
                <a:latin typeface="Calibri"/>
                <a:cs typeface="Calibri"/>
              </a:rPr>
              <a:t>ti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9BBB59"/>
                </a:solidFill>
                <a:latin typeface="Calibri"/>
                <a:cs typeface="Calibri"/>
              </a:rPr>
              <a:t>n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850"/>
              </a:lnSpc>
              <a:spcBef>
                <a:spcPts val="10"/>
              </a:spcBef>
            </a:pPr>
            <a:endParaRPr sz="85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3200" spc="-25" dirty="0">
                <a:solidFill>
                  <a:srgbClr val="C0504D"/>
                </a:solidFill>
                <a:latin typeface="Calibri"/>
                <a:cs typeface="Calibri"/>
              </a:rPr>
              <a:t>Und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tandin</a:t>
            </a:r>
            <a:r>
              <a:rPr sz="3200" spc="-15" dirty="0">
                <a:solidFill>
                  <a:srgbClr val="C0504D"/>
                </a:solidFill>
                <a:latin typeface="Calibri"/>
                <a:cs typeface="Calibri"/>
              </a:rPr>
              <a:t>g a c</a:t>
            </a:r>
            <a:r>
              <a:rPr sz="3200" spc="-5" dirty="0">
                <a:solidFill>
                  <a:srgbClr val="C0504D"/>
                </a:solidFill>
                <a:latin typeface="Calibri"/>
                <a:cs typeface="Calibri"/>
              </a:rPr>
              <a:t>o</a:t>
            </a:r>
            <a:r>
              <a:rPr sz="3200" spc="-30" dirty="0">
                <a:solidFill>
                  <a:srgbClr val="C0504D"/>
                </a:solidFill>
                <a:latin typeface="Calibri"/>
                <a:cs typeface="Calibri"/>
              </a:rPr>
              <a:t>mpl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ex sy</a:t>
            </a:r>
            <a:r>
              <a:rPr sz="3200" dirty="0">
                <a:solidFill>
                  <a:srgbClr val="C0504D"/>
                </a:solidFill>
                <a:latin typeface="Calibri"/>
                <a:cs typeface="Calibri"/>
              </a:rPr>
              <a:t>s</a:t>
            </a:r>
            <a:r>
              <a:rPr sz="3200" spc="-20" dirty="0">
                <a:solidFill>
                  <a:srgbClr val="C0504D"/>
                </a:solidFill>
                <a:latin typeface="Calibri"/>
                <a:cs typeface="Calibri"/>
              </a:rPr>
              <a:t>tem</a:t>
            </a:r>
            <a:endParaRPr sz="3200" dirty="0">
              <a:latin typeface="Calibri"/>
              <a:cs typeface="Calibri"/>
            </a:endParaRPr>
          </a:p>
          <a:p>
            <a:pPr marL="12700">
              <a:lnSpc>
                <a:spcPts val="2840"/>
              </a:lnSpc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l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ke pu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chas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 fri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ndships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 ﬂ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spc="-25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s)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ts val="800"/>
              </a:lnSpc>
              <a:spcBef>
                <a:spcPts val="20"/>
              </a:spcBef>
            </a:pPr>
            <a:endParaRPr sz="8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Findin</a:t>
            </a:r>
            <a:r>
              <a:rPr sz="3200" spc="-15" dirty="0">
                <a:solidFill>
                  <a:srgbClr val="4BACC6"/>
                </a:solidFill>
                <a:latin typeface="Calibri"/>
                <a:cs typeface="Calibri"/>
              </a:rPr>
              <a:t>g </a:t>
            </a:r>
            <a:r>
              <a:rPr sz="3200" spc="-25" dirty="0">
                <a:solidFill>
                  <a:srgbClr val="4BACC6"/>
                </a:solidFill>
                <a:latin typeface="Calibri"/>
                <a:cs typeface="Calibri"/>
              </a:rPr>
              <a:t>meanin</a:t>
            </a:r>
            <a:r>
              <a:rPr sz="3200" spc="-15" dirty="0">
                <a:solidFill>
                  <a:srgbClr val="4BACC6"/>
                </a:solidFill>
                <a:latin typeface="Calibri"/>
                <a:cs typeface="Calibri"/>
              </a:rPr>
              <a:t>gful categ</a:t>
            </a:r>
            <a:r>
              <a:rPr sz="32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i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es f</a:t>
            </a:r>
            <a:r>
              <a:rPr sz="32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4BACC6"/>
                </a:solidFill>
                <a:latin typeface="Calibri"/>
                <a:cs typeface="Calibri"/>
              </a:rPr>
              <a:t>r 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y</a:t>
            </a:r>
            <a:r>
              <a:rPr sz="3200" spc="-5" dirty="0">
                <a:solidFill>
                  <a:srgbClr val="4BACC6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4BACC6"/>
                </a:solidFill>
                <a:latin typeface="Calibri"/>
                <a:cs typeface="Calibri"/>
              </a:rPr>
              <a:t>u</a:t>
            </a:r>
            <a:r>
              <a:rPr sz="3200" spc="-15" dirty="0">
                <a:solidFill>
                  <a:srgbClr val="4BACC6"/>
                </a:solidFill>
                <a:latin typeface="Calibri"/>
                <a:cs typeface="Calibri"/>
              </a:rPr>
              <a:t>r i</a:t>
            </a:r>
            <a:r>
              <a:rPr sz="3200" spc="-20" dirty="0">
                <a:solidFill>
                  <a:srgbClr val="4BACC6"/>
                </a:solidFill>
                <a:latin typeface="Calibri"/>
                <a:cs typeface="Calibri"/>
              </a:rPr>
              <a:t>tems</a:t>
            </a:r>
            <a:endParaRPr sz="3200" dirty="0">
              <a:latin typeface="Calibri"/>
              <a:cs typeface="Calibri"/>
            </a:endParaRPr>
          </a:p>
          <a:p>
            <a:pPr>
              <a:lnSpc>
                <a:spcPts val="850"/>
              </a:lnSpc>
              <a:spcBef>
                <a:spcPts val="9"/>
              </a:spcBef>
            </a:pPr>
            <a:endParaRPr sz="85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>
              <a:lnSpc>
                <a:spcPts val="1000"/>
              </a:lnSpc>
            </a:pPr>
            <a:endParaRPr sz="1000" dirty="0"/>
          </a:p>
          <a:p>
            <a:pPr marL="12700"/>
            <a:r>
              <a:rPr sz="3200" dirty="0">
                <a:solidFill>
                  <a:srgbClr val="8064A2"/>
                </a:solidFill>
                <a:latin typeface="Calibri"/>
                <a:cs typeface="Calibri"/>
              </a:rPr>
              <a:t>F</a:t>
            </a:r>
            <a:r>
              <a:rPr sz="3200" spc="-20" dirty="0">
                <a:solidFill>
                  <a:srgbClr val="8064A2"/>
                </a:solidFill>
                <a:latin typeface="Calibri"/>
                <a:cs typeface="Calibri"/>
              </a:rPr>
              <a:t>e</a:t>
            </a:r>
            <a:r>
              <a:rPr sz="3200" spc="-30" dirty="0">
                <a:solidFill>
                  <a:srgbClr val="8064A2"/>
                </a:solidFill>
                <a:latin typeface="Calibri"/>
                <a:cs typeface="Calibri"/>
              </a:rPr>
              <a:t>w</a:t>
            </a:r>
            <a:r>
              <a:rPr sz="3200" spc="-15" dirty="0">
                <a:solidFill>
                  <a:srgbClr val="8064A2"/>
                </a:solidFill>
                <a:latin typeface="Calibri"/>
                <a:cs typeface="Calibri"/>
              </a:rPr>
              <a:t>er class</a:t>
            </a:r>
            <a:r>
              <a:rPr sz="3200" spc="-20" dirty="0">
                <a:solidFill>
                  <a:srgbClr val="8064A2"/>
                </a:solidFill>
                <a:latin typeface="Calibri"/>
                <a:cs typeface="Calibri"/>
              </a:rPr>
              <a:t>es f</a:t>
            </a:r>
            <a:r>
              <a:rPr sz="32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3200" spc="-15" dirty="0">
                <a:solidFill>
                  <a:srgbClr val="8064A2"/>
                </a:solidFill>
                <a:latin typeface="Calibri"/>
                <a:cs typeface="Calibri"/>
              </a:rPr>
              <a:t>r </a:t>
            </a:r>
            <a:r>
              <a:rPr lang="en-CA" sz="3200" spc="-15" dirty="0">
                <a:solidFill>
                  <a:srgbClr val="8064A2"/>
                </a:solidFill>
                <a:latin typeface="Calibri"/>
                <a:cs typeface="Calibri"/>
              </a:rPr>
              <a:t>classification</a:t>
            </a:r>
            <a:r>
              <a:rPr sz="3200" dirty="0">
                <a:solidFill>
                  <a:srgbClr val="8064A2"/>
                </a:solidFill>
                <a:latin typeface="Calibri"/>
                <a:cs typeface="Calibri"/>
              </a:rPr>
              <a:t> b</a:t>
            </a:r>
            <a:r>
              <a:rPr sz="3200" spc="-15" dirty="0">
                <a:solidFill>
                  <a:srgbClr val="8064A2"/>
                </a:solidFill>
                <a:latin typeface="Calibri"/>
                <a:cs typeface="Calibri"/>
              </a:rPr>
              <a:t>y g</a:t>
            </a:r>
            <a:r>
              <a:rPr sz="3200" spc="-20" dirty="0">
                <a:solidFill>
                  <a:srgbClr val="8064A2"/>
                </a:solidFill>
                <a:latin typeface="Calibri"/>
                <a:cs typeface="Calibri"/>
              </a:rPr>
              <a:t>r</a:t>
            </a:r>
            <a:r>
              <a:rPr sz="3200" spc="-5" dirty="0">
                <a:solidFill>
                  <a:srgbClr val="8064A2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8064A2"/>
                </a:solidFill>
                <a:latin typeface="Calibri"/>
                <a:cs typeface="Calibri"/>
              </a:rPr>
              <a:t>upin</a:t>
            </a:r>
            <a:r>
              <a:rPr sz="3200" spc="-15" dirty="0">
                <a:solidFill>
                  <a:srgbClr val="8064A2"/>
                </a:solidFill>
                <a:latin typeface="Calibri"/>
                <a:cs typeface="Calibri"/>
              </a:rPr>
              <a:t>g</a:t>
            </a:r>
            <a:endParaRPr sz="3200" dirty="0">
              <a:latin typeface="Calibri"/>
              <a:cs typeface="Calibri"/>
            </a:endParaRPr>
          </a:p>
          <a:p>
            <a:pPr marL="12700">
              <a:spcBef>
                <a:spcPts val="60"/>
              </a:spcBef>
            </a:pP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(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chan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ge the </a:t>
            </a:r>
            <a:r>
              <a:rPr lang="en-CA" sz="2400" spc="-15" dirty="0">
                <a:solidFill>
                  <a:srgbClr val="7F7F7F"/>
                </a:solidFill>
                <a:latin typeface="Calibri"/>
                <a:cs typeface="Calibri"/>
              </a:rPr>
              <a:t>resolution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f th</a:t>
            </a:r>
            <a:r>
              <a:rPr sz="2400" spc="-15" dirty="0">
                <a:solidFill>
                  <a:srgbClr val="7F7F7F"/>
                </a:solidFill>
                <a:latin typeface="Calibri"/>
                <a:cs typeface="Calibri"/>
              </a:rPr>
              <a:t>e p</a:t>
            </a:r>
            <a:r>
              <a:rPr sz="2400" spc="-10" dirty="0">
                <a:solidFill>
                  <a:srgbClr val="7F7F7F"/>
                </a:solidFill>
                <a:latin typeface="Calibri"/>
                <a:cs typeface="Calibri"/>
              </a:rPr>
              <a:t>r</a:t>
            </a:r>
            <a:r>
              <a:rPr sz="24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2400" dirty="0">
                <a:solidFill>
                  <a:srgbClr val="7F7F7F"/>
                </a:solidFill>
                <a:latin typeface="Calibri"/>
                <a:cs typeface="Calibri"/>
              </a:rPr>
              <a:t>bl</a:t>
            </a:r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em)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937AB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705C8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946641" y="292943"/>
            <a:ext cx="3176905" cy="9912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0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22468" y="3798916"/>
            <a:ext cx="6521334" cy="2909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767559" y="3924693"/>
            <a:ext cx="6403705" cy="0"/>
          </a:xfrm>
          <a:custGeom>
            <a:avLst/>
            <a:gdLst/>
            <a:ahLst/>
            <a:cxnLst/>
            <a:rect l="l" t="t" r="r" b="b"/>
            <a:pathLst>
              <a:path w="6403705">
                <a:moveTo>
                  <a:pt x="0" y="0"/>
                </a:moveTo>
                <a:lnTo>
                  <a:pt x="6403705" y="0"/>
                </a:lnTo>
              </a:path>
            </a:pathLst>
          </a:custGeom>
          <a:ln w="26555">
            <a:solidFill>
              <a:srgbClr val="6095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0080562" y="3866316"/>
            <a:ext cx="115907" cy="117908"/>
          </a:xfrm>
          <a:custGeom>
            <a:avLst/>
            <a:gdLst/>
            <a:ahLst/>
            <a:cxnLst/>
            <a:rect l="l" t="t" r="r" b="b"/>
            <a:pathLst>
              <a:path w="115907" h="117908">
                <a:moveTo>
                  <a:pt x="14843" y="0"/>
                </a:moveTo>
                <a:lnTo>
                  <a:pt x="7067" y="2047"/>
                </a:lnTo>
                <a:lnTo>
                  <a:pt x="0" y="14164"/>
                </a:lnTo>
                <a:lnTo>
                  <a:pt x="2045" y="21940"/>
                </a:lnTo>
                <a:lnTo>
                  <a:pt x="65498" y="58954"/>
                </a:lnTo>
                <a:lnTo>
                  <a:pt x="2045" y="95968"/>
                </a:lnTo>
                <a:lnTo>
                  <a:pt x="0" y="103745"/>
                </a:lnTo>
                <a:lnTo>
                  <a:pt x="7067" y="115862"/>
                </a:lnTo>
                <a:lnTo>
                  <a:pt x="14843" y="117908"/>
                </a:lnTo>
                <a:lnTo>
                  <a:pt x="115907" y="58954"/>
                </a:lnTo>
                <a:lnTo>
                  <a:pt x="14843" y="0"/>
                </a:lnTo>
                <a:close/>
              </a:path>
            </a:pathLst>
          </a:custGeom>
          <a:solidFill>
            <a:srgbClr val="6095C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22717" y="3886199"/>
            <a:ext cx="320039" cy="1163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192486" y="3761233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5"/>
                </a:lnTo>
                <a:lnTo>
                  <a:pt x="27745" y="270291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4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92469" y="3761234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4113" y="3759959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804096" y="375995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084130" y="3767523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4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3" y="281524"/>
                </a:lnTo>
                <a:lnTo>
                  <a:pt x="306364" y="244746"/>
                </a:lnTo>
                <a:lnTo>
                  <a:pt x="318312" y="202444"/>
                </a:lnTo>
                <a:lnTo>
                  <a:pt x="320707" y="171934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7" y="45349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084112" y="3767523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3127" y="3780349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8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4" y="232815"/>
                </a:lnTo>
                <a:lnTo>
                  <a:pt x="27745" y="270291"/>
                </a:lnTo>
                <a:lnTo>
                  <a:pt x="53856" y="301804"/>
                </a:lnTo>
                <a:lnTo>
                  <a:pt x="87000" y="325977"/>
                </a:lnTo>
                <a:lnTo>
                  <a:pt x="126137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4"/>
                </a:lnTo>
                <a:lnTo>
                  <a:pt x="257387" y="311611"/>
                </a:lnTo>
                <a:lnTo>
                  <a:pt x="285662" y="281526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6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7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93109" y="3780350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163330" y="3771592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163313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04859" y="3765986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4" y="0"/>
                </a:moveTo>
                <a:lnTo>
                  <a:pt x="111063" y="8105"/>
                </a:lnTo>
                <a:lnTo>
                  <a:pt x="74760" y="26526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2"/>
                </a:lnTo>
                <a:lnTo>
                  <a:pt x="0" y="175953"/>
                </a:lnTo>
                <a:lnTo>
                  <a:pt x="773" y="190753"/>
                </a:lnTo>
                <a:lnTo>
                  <a:pt x="9704" y="232814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2" y="346785"/>
                </a:lnTo>
                <a:lnTo>
                  <a:pt x="184056" y="345224"/>
                </a:lnTo>
                <a:lnTo>
                  <a:pt x="223084" y="333292"/>
                </a:lnTo>
                <a:lnTo>
                  <a:pt x="257388" y="311609"/>
                </a:lnTo>
                <a:lnTo>
                  <a:pt x="285663" y="281525"/>
                </a:lnTo>
                <a:lnTo>
                  <a:pt x="306366" y="244745"/>
                </a:lnTo>
                <a:lnTo>
                  <a:pt x="318313" y="202442"/>
                </a:lnTo>
                <a:lnTo>
                  <a:pt x="320708" y="171932"/>
                </a:lnTo>
                <a:lnTo>
                  <a:pt x="320009" y="157056"/>
                </a:lnTo>
                <a:lnTo>
                  <a:pt x="311223" y="114698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04842" y="3765985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5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07253" y="377159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07235" y="3771591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60393" y="3767142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1"/>
                </a:lnTo>
                <a:lnTo>
                  <a:pt x="9704" y="232812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29" y="346785"/>
                </a:lnTo>
                <a:lnTo>
                  <a:pt x="184053" y="345224"/>
                </a:lnTo>
                <a:lnTo>
                  <a:pt x="223082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2" y="77067"/>
                </a:lnTo>
                <a:lnTo>
                  <a:pt x="267336" y="45349"/>
                </a:lnTo>
                <a:lnTo>
                  <a:pt x="234338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60376" y="3767142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6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623358" y="3765608"/>
            <a:ext cx="320707" cy="346786"/>
          </a:xfrm>
          <a:custGeom>
            <a:avLst/>
            <a:gdLst/>
            <a:ahLst/>
            <a:cxnLst/>
            <a:rect l="l" t="t" r="r" b="b"/>
            <a:pathLst>
              <a:path w="320707" h="346786">
                <a:moveTo>
                  <a:pt x="151644" y="0"/>
                </a:moveTo>
                <a:lnTo>
                  <a:pt x="111063" y="8104"/>
                </a:lnTo>
                <a:lnTo>
                  <a:pt x="74760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3"/>
                </a:lnTo>
                <a:lnTo>
                  <a:pt x="773" y="190754"/>
                </a:lnTo>
                <a:lnTo>
                  <a:pt x="9705" y="232814"/>
                </a:lnTo>
                <a:lnTo>
                  <a:pt x="27745" y="270290"/>
                </a:lnTo>
                <a:lnTo>
                  <a:pt x="53857" y="301804"/>
                </a:lnTo>
                <a:lnTo>
                  <a:pt x="87000" y="325977"/>
                </a:lnTo>
                <a:lnTo>
                  <a:pt x="126138" y="341430"/>
                </a:lnTo>
                <a:lnTo>
                  <a:pt x="170231" y="346786"/>
                </a:lnTo>
                <a:lnTo>
                  <a:pt x="184055" y="345225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5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623340" y="3765609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6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4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62109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7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2" y="114697"/>
                </a:lnTo>
                <a:lnTo>
                  <a:pt x="293332" y="77066"/>
                </a:lnTo>
                <a:lnTo>
                  <a:pt x="267336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662092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6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9135238" y="3773421"/>
            <a:ext cx="320708" cy="346785"/>
          </a:xfrm>
          <a:custGeom>
            <a:avLst/>
            <a:gdLst/>
            <a:ahLst/>
            <a:cxnLst/>
            <a:rect l="l" t="t" r="r" b="b"/>
            <a:pathLst>
              <a:path w="320708" h="346785">
                <a:moveTo>
                  <a:pt x="151645" y="0"/>
                </a:moveTo>
                <a:lnTo>
                  <a:pt x="111064" y="8104"/>
                </a:lnTo>
                <a:lnTo>
                  <a:pt x="74761" y="26525"/>
                </a:lnTo>
                <a:lnTo>
                  <a:pt x="44119" y="53765"/>
                </a:lnTo>
                <a:lnTo>
                  <a:pt x="20521" y="88327"/>
                </a:lnTo>
                <a:lnTo>
                  <a:pt x="5348" y="128714"/>
                </a:lnTo>
                <a:lnTo>
                  <a:pt x="43" y="171933"/>
                </a:lnTo>
                <a:lnTo>
                  <a:pt x="0" y="175952"/>
                </a:lnTo>
                <a:lnTo>
                  <a:pt x="773" y="190753"/>
                </a:lnTo>
                <a:lnTo>
                  <a:pt x="9705" y="232813"/>
                </a:lnTo>
                <a:lnTo>
                  <a:pt x="27745" y="270290"/>
                </a:lnTo>
                <a:lnTo>
                  <a:pt x="53857" y="301803"/>
                </a:lnTo>
                <a:lnTo>
                  <a:pt x="87001" y="325976"/>
                </a:lnTo>
                <a:lnTo>
                  <a:pt x="126138" y="341429"/>
                </a:lnTo>
                <a:lnTo>
                  <a:pt x="170231" y="346785"/>
                </a:lnTo>
                <a:lnTo>
                  <a:pt x="184055" y="345224"/>
                </a:lnTo>
                <a:lnTo>
                  <a:pt x="223084" y="333293"/>
                </a:lnTo>
                <a:lnTo>
                  <a:pt x="257388" y="311610"/>
                </a:lnTo>
                <a:lnTo>
                  <a:pt x="285663" y="281525"/>
                </a:lnTo>
                <a:lnTo>
                  <a:pt x="306366" y="244746"/>
                </a:lnTo>
                <a:lnTo>
                  <a:pt x="318313" y="202443"/>
                </a:lnTo>
                <a:lnTo>
                  <a:pt x="320708" y="171933"/>
                </a:lnTo>
                <a:lnTo>
                  <a:pt x="320009" y="157056"/>
                </a:lnTo>
                <a:lnTo>
                  <a:pt x="311223" y="114697"/>
                </a:lnTo>
                <a:lnTo>
                  <a:pt x="293333" y="77067"/>
                </a:lnTo>
                <a:lnTo>
                  <a:pt x="267337" y="45348"/>
                </a:lnTo>
                <a:lnTo>
                  <a:pt x="234339" y="21003"/>
                </a:lnTo>
                <a:lnTo>
                  <a:pt x="195416" y="5423"/>
                </a:lnTo>
                <a:lnTo>
                  <a:pt x="151645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35221" y="3773420"/>
            <a:ext cx="320724" cy="346786"/>
          </a:xfrm>
          <a:custGeom>
            <a:avLst/>
            <a:gdLst/>
            <a:ahLst/>
            <a:cxnLst/>
            <a:rect l="l" t="t" r="r" b="b"/>
            <a:pathLst>
              <a:path w="320724" h="346786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8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20"/>
                </a:lnTo>
                <a:lnTo>
                  <a:pt x="170247" y="346786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7" y="292047"/>
                </a:lnTo>
                <a:lnTo>
                  <a:pt x="20800" y="258392"/>
                </a:lnTo>
                <a:lnTo>
                  <a:pt x="5680" y="219235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634027" y="3771250"/>
            <a:ext cx="320707" cy="346785"/>
          </a:xfrm>
          <a:custGeom>
            <a:avLst/>
            <a:gdLst/>
            <a:ahLst/>
            <a:cxnLst/>
            <a:rect l="l" t="t" r="r" b="b"/>
            <a:pathLst>
              <a:path w="320707" h="346785">
                <a:moveTo>
                  <a:pt x="151644" y="0"/>
                </a:moveTo>
                <a:lnTo>
                  <a:pt x="111063" y="8104"/>
                </a:lnTo>
                <a:lnTo>
                  <a:pt x="74761" y="26525"/>
                </a:lnTo>
                <a:lnTo>
                  <a:pt x="44119" y="53766"/>
                </a:lnTo>
                <a:lnTo>
                  <a:pt x="20520" y="88328"/>
                </a:lnTo>
                <a:lnTo>
                  <a:pt x="5348" y="128715"/>
                </a:lnTo>
                <a:lnTo>
                  <a:pt x="43" y="171933"/>
                </a:lnTo>
                <a:lnTo>
                  <a:pt x="0" y="175951"/>
                </a:lnTo>
                <a:lnTo>
                  <a:pt x="773" y="190752"/>
                </a:lnTo>
                <a:lnTo>
                  <a:pt x="9704" y="232813"/>
                </a:lnTo>
                <a:lnTo>
                  <a:pt x="27745" y="270289"/>
                </a:lnTo>
                <a:lnTo>
                  <a:pt x="53856" y="301803"/>
                </a:lnTo>
                <a:lnTo>
                  <a:pt x="87000" y="325976"/>
                </a:lnTo>
                <a:lnTo>
                  <a:pt x="126137" y="341429"/>
                </a:lnTo>
                <a:lnTo>
                  <a:pt x="170230" y="346785"/>
                </a:lnTo>
                <a:lnTo>
                  <a:pt x="184054" y="345224"/>
                </a:lnTo>
                <a:lnTo>
                  <a:pt x="223083" y="333293"/>
                </a:lnTo>
                <a:lnTo>
                  <a:pt x="257386" y="311610"/>
                </a:lnTo>
                <a:lnTo>
                  <a:pt x="285662" y="281524"/>
                </a:lnTo>
                <a:lnTo>
                  <a:pt x="306364" y="244746"/>
                </a:lnTo>
                <a:lnTo>
                  <a:pt x="318312" y="202443"/>
                </a:lnTo>
                <a:lnTo>
                  <a:pt x="320707" y="171933"/>
                </a:lnTo>
                <a:lnTo>
                  <a:pt x="320008" y="157057"/>
                </a:lnTo>
                <a:lnTo>
                  <a:pt x="311221" y="114697"/>
                </a:lnTo>
                <a:lnTo>
                  <a:pt x="293331" y="77066"/>
                </a:lnTo>
                <a:lnTo>
                  <a:pt x="267335" y="45348"/>
                </a:lnTo>
                <a:lnTo>
                  <a:pt x="234338" y="21003"/>
                </a:lnTo>
                <a:lnTo>
                  <a:pt x="195415" y="5423"/>
                </a:lnTo>
                <a:lnTo>
                  <a:pt x="151644" y="0"/>
                </a:lnTo>
                <a:close/>
              </a:path>
            </a:pathLst>
          </a:custGeom>
          <a:solidFill>
            <a:srgbClr val="AAC46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9634010" y="3771251"/>
            <a:ext cx="320724" cy="346785"/>
          </a:xfrm>
          <a:custGeom>
            <a:avLst/>
            <a:gdLst/>
            <a:ahLst/>
            <a:cxnLst/>
            <a:rect l="l" t="t" r="r" b="b"/>
            <a:pathLst>
              <a:path w="320724" h="346785">
                <a:moveTo>
                  <a:pt x="0" y="173429"/>
                </a:moveTo>
                <a:lnTo>
                  <a:pt x="5364" y="128714"/>
                </a:lnTo>
                <a:lnTo>
                  <a:pt x="20537" y="88328"/>
                </a:lnTo>
                <a:lnTo>
                  <a:pt x="44135" y="53765"/>
                </a:lnTo>
                <a:lnTo>
                  <a:pt x="74777" y="26525"/>
                </a:lnTo>
                <a:lnTo>
                  <a:pt x="111080" y="8104"/>
                </a:lnTo>
                <a:lnTo>
                  <a:pt x="151661" y="0"/>
                </a:lnTo>
                <a:lnTo>
                  <a:pt x="166723" y="593"/>
                </a:lnTo>
                <a:lnTo>
                  <a:pt x="208998" y="9557"/>
                </a:lnTo>
                <a:lnTo>
                  <a:pt x="246066" y="28213"/>
                </a:lnTo>
                <a:lnTo>
                  <a:pt x="276849" y="55170"/>
                </a:lnTo>
                <a:lnTo>
                  <a:pt x="300271" y="89037"/>
                </a:lnTo>
                <a:lnTo>
                  <a:pt x="315255" y="128422"/>
                </a:lnTo>
                <a:lnTo>
                  <a:pt x="320724" y="171933"/>
                </a:lnTo>
                <a:lnTo>
                  <a:pt x="320117" y="187383"/>
                </a:lnTo>
                <a:lnTo>
                  <a:pt x="311411" y="231177"/>
                </a:lnTo>
                <a:lnTo>
                  <a:pt x="293435" y="270018"/>
                </a:lnTo>
                <a:lnTo>
                  <a:pt x="267552" y="302464"/>
                </a:lnTo>
                <a:lnTo>
                  <a:pt x="235127" y="327078"/>
                </a:lnTo>
                <a:lnTo>
                  <a:pt x="197522" y="342419"/>
                </a:lnTo>
                <a:lnTo>
                  <a:pt x="170247" y="346785"/>
                </a:lnTo>
                <a:lnTo>
                  <a:pt x="155063" y="346207"/>
                </a:lnTo>
                <a:lnTo>
                  <a:pt x="112506" y="337332"/>
                </a:lnTo>
                <a:lnTo>
                  <a:pt x="75251" y="318819"/>
                </a:lnTo>
                <a:lnTo>
                  <a:pt x="44336" y="292046"/>
                </a:lnTo>
                <a:lnTo>
                  <a:pt x="20800" y="258392"/>
                </a:lnTo>
                <a:lnTo>
                  <a:pt x="5680" y="219234"/>
                </a:lnTo>
                <a:lnTo>
                  <a:pt x="16" y="175952"/>
                </a:lnTo>
                <a:lnTo>
                  <a:pt x="0" y="173429"/>
                </a:lnTo>
                <a:close/>
              </a:path>
            </a:pathLst>
          </a:custGeom>
          <a:ln w="25399">
            <a:solidFill>
              <a:srgbClr val="8399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6553116" y="4459075"/>
            <a:ext cx="496570" cy="384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400" spc="-20" dirty="0">
                <a:solidFill>
                  <a:srgbClr val="7F7F7F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946641" y="292943"/>
            <a:ext cx="3176905" cy="9785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3820"/>
              </a:lnSpc>
            </a:pPr>
            <a:r>
              <a:rPr sz="3200" spc="-25" dirty="0">
                <a:solidFill>
                  <a:srgbClr val="7F7F7F"/>
                </a:solidFill>
                <a:latin typeface="Calibri"/>
                <a:cs typeface="Calibri"/>
              </a:rPr>
              <a:t>Us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r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s </a:t>
            </a:r>
            <a:r>
              <a:rPr sz="3200" spc="-5" dirty="0">
                <a:solidFill>
                  <a:srgbClr val="7F7F7F"/>
                </a:solidFill>
                <a:latin typeface="Calibri"/>
                <a:cs typeface="Calibri"/>
              </a:rPr>
              <a:t>o</a:t>
            </a:r>
            <a:r>
              <a:rPr sz="3200" dirty="0">
                <a:solidFill>
                  <a:srgbClr val="7F7F7F"/>
                </a:solidFill>
                <a:latin typeface="Calibri"/>
                <a:cs typeface="Calibri"/>
              </a:rPr>
              <a:t>f a </a:t>
            </a:r>
            <a:r>
              <a:rPr sz="3200" spc="-30" dirty="0">
                <a:solidFill>
                  <a:srgbClr val="7F7F7F"/>
                </a:solidFill>
                <a:latin typeface="Calibri"/>
                <a:cs typeface="Calibri"/>
              </a:rPr>
              <a:t>w</a:t>
            </a:r>
            <a:r>
              <a:rPr sz="3200" spc="-20" dirty="0">
                <a:solidFill>
                  <a:srgbClr val="7F7F7F"/>
                </a:solidFill>
                <a:latin typeface="Calibri"/>
                <a:cs typeface="Calibri"/>
              </a:rPr>
              <a:t>eb app</a:t>
            </a:r>
            <a:endParaRPr sz="3200">
              <a:latin typeface="Calibri"/>
              <a:cs typeface="Calibri"/>
            </a:endParaRPr>
          </a:p>
          <a:p>
            <a:pPr marL="12700">
              <a:lnSpc>
                <a:spcPts val="3820"/>
              </a:lnSpc>
            </a:pPr>
            <a:r>
              <a:rPr sz="3200" spc="-20" dirty="0">
                <a:solidFill>
                  <a:srgbClr val="9BBB59"/>
                </a:solidFill>
                <a:latin typeface="Calibri"/>
                <a:cs typeface="Calibri"/>
              </a:rPr>
              <a:t>1 Featur</a:t>
            </a:r>
            <a:r>
              <a:rPr sz="3200" spc="-15" dirty="0">
                <a:solidFill>
                  <a:srgbClr val="9BBB59"/>
                </a:solidFill>
                <a:latin typeface="Calibri"/>
                <a:cs typeface="Calibri"/>
              </a:rPr>
              <a:t>e:</a:t>
            </a:r>
            <a:r>
              <a:rPr sz="3200" spc="-5" dirty="0">
                <a:solidFill>
                  <a:srgbClr val="9BBB59"/>
                </a:solidFill>
                <a:latin typeface="Calibri"/>
                <a:cs typeface="Calibri"/>
              </a:rPr>
              <a:t> </a:t>
            </a:r>
            <a:r>
              <a:rPr sz="3200" spc="-25" dirty="0">
                <a:solidFill>
                  <a:srgbClr val="4F81BD"/>
                </a:solidFill>
                <a:latin typeface="Calibri"/>
                <a:cs typeface="Calibri"/>
              </a:rPr>
              <a:t>Age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946640" y="1258142"/>
            <a:ext cx="1600200" cy="4959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2 </a:t>
            </a:r>
            <a:r>
              <a:rPr sz="3200" spc="-15" dirty="0">
                <a:solidFill>
                  <a:srgbClr val="F79646"/>
                </a:solidFill>
                <a:latin typeface="Calibri"/>
                <a:cs typeface="Calibri"/>
              </a:rPr>
              <a:t>cluste</a:t>
            </a:r>
            <a:r>
              <a:rPr sz="3200" spc="-20" dirty="0">
                <a:solidFill>
                  <a:srgbClr val="F79646"/>
                </a:solidFill>
                <a:latin typeface="Calibri"/>
                <a:cs typeface="Calibri"/>
              </a:rPr>
              <a:t>r</a:t>
            </a:r>
            <a:r>
              <a:rPr sz="3200" dirty="0">
                <a:solidFill>
                  <a:srgbClr val="F79646"/>
                </a:solidFill>
                <a:latin typeface="Calibri"/>
                <a:cs typeface="Calibri"/>
              </a:rPr>
              <a:t>s</a:t>
            </a:r>
            <a:endParaRPr sz="3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tis-Theme-Blue">
  <a:themeElements>
    <a:clrScheme name="Custom 3">
      <a:dk1>
        <a:srgbClr val="000000"/>
      </a:dk1>
      <a:lt1>
        <a:srgbClr val="FFFFFF"/>
      </a:lt1>
      <a:dk2>
        <a:srgbClr val="454551"/>
      </a:dk2>
      <a:lt2>
        <a:srgbClr val="797979"/>
      </a:lt2>
      <a:accent1>
        <a:srgbClr val="EC138B"/>
      </a:accent1>
      <a:accent2>
        <a:srgbClr val="ED3167"/>
      </a:accent2>
      <a:accent3>
        <a:srgbClr val="359ED8"/>
      </a:accent3>
      <a:accent4>
        <a:srgbClr val="255E83"/>
      </a:accent4>
      <a:accent5>
        <a:srgbClr val="B7315B"/>
      </a:accent5>
      <a:accent6>
        <a:srgbClr val="253C6F"/>
      </a:accent6>
      <a:hlink>
        <a:srgbClr val="EC138B"/>
      </a:hlink>
      <a:folHlink>
        <a:srgbClr val="255E83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is-Theme-Blue" id="{CBC74AF4-6333-8E44-BFE7-E3031EE41772}" vid="{517E9765-9599-854B-9919-8EC04073B2F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is-Theme-Blue</Template>
  <TotalTime>332</TotalTime>
  <Words>1352</Words>
  <Application>Microsoft Macintosh PowerPoint</Application>
  <PresentationFormat>Widescreen</PresentationFormat>
  <Paragraphs>343</Paragraphs>
  <Slides>6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68" baseType="lpstr">
      <vt:lpstr>Arial</vt:lpstr>
      <vt:lpstr>Calibri</vt:lpstr>
      <vt:lpstr>Gill Sans MT</vt:lpstr>
      <vt:lpstr>Helvetica</vt:lpstr>
      <vt:lpstr>Wingdings 3</vt:lpstr>
      <vt:lpstr>Metis-Theme-Blue</vt:lpstr>
      <vt:lpstr>think-cell Slide</vt:lpstr>
      <vt:lpstr>Unsupervised Lear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ers of a web app 1 Feature: Age</vt:lpstr>
      <vt:lpstr>Users of a web app 1 Feature: 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nsupervised Learning Find structure in unlabeled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ers of a web app 1 Feature: 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score: Inertia Higher within-cluster density with higher K, inertia will go down</vt:lpstr>
      <vt:lpstr>PowerPoint Presentation</vt:lpstr>
      <vt:lpstr>Our score: Inertia Higher within-cluster density with higher K, inertia will go down</vt:lpstr>
      <vt:lpstr>Even Better: Silhouette Scor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Sophia Ray</cp:lastModifiedBy>
  <cp:revision>48</cp:revision>
  <dcterms:created xsi:type="dcterms:W3CDTF">2014-12-22T13:47:00Z</dcterms:created>
  <dcterms:modified xsi:type="dcterms:W3CDTF">2018-11-20T20:4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4-10-20T00:00:00Z</vt:filetime>
  </property>
  <property fmtid="{D5CDD505-2E9C-101B-9397-08002B2CF9AE}" pid="3" name="LastSaved">
    <vt:filetime>2014-12-22T00:00:00Z</vt:filetime>
  </property>
</Properties>
</file>